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46" r:id="rId1"/>
  </p:sldMasterIdLst>
  <p:notesMasterIdLst>
    <p:notesMasterId r:id="rId26"/>
  </p:notesMasterIdLst>
  <p:sldIdLst>
    <p:sldId id="261" r:id="rId2"/>
    <p:sldId id="374" r:id="rId3"/>
    <p:sldId id="381" r:id="rId4"/>
    <p:sldId id="364" r:id="rId5"/>
    <p:sldId id="397" r:id="rId6"/>
    <p:sldId id="393" r:id="rId7"/>
    <p:sldId id="396" r:id="rId8"/>
    <p:sldId id="398" r:id="rId9"/>
    <p:sldId id="399" r:id="rId10"/>
    <p:sldId id="401" r:id="rId11"/>
    <p:sldId id="375" r:id="rId12"/>
    <p:sldId id="391" r:id="rId13"/>
    <p:sldId id="392" r:id="rId14"/>
    <p:sldId id="331" r:id="rId15"/>
    <p:sldId id="341" r:id="rId16"/>
    <p:sldId id="384" r:id="rId17"/>
    <p:sldId id="350" r:id="rId18"/>
    <p:sldId id="342" r:id="rId19"/>
    <p:sldId id="347" r:id="rId20"/>
    <p:sldId id="376" r:id="rId21"/>
    <p:sldId id="394" r:id="rId22"/>
    <p:sldId id="395" r:id="rId23"/>
    <p:sldId id="338" r:id="rId24"/>
    <p:sldId id="365" r:id="rId25"/>
  </p:sldIdLst>
  <p:sldSz cx="9144000" cy="6858000" type="screen4x3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272" autoAdjust="0"/>
    <p:restoredTop sz="94660" autoAdjust="0"/>
  </p:normalViewPr>
  <p:slideViewPr>
    <p:cSldViewPr>
      <p:cViewPr>
        <p:scale>
          <a:sx n="77" d="100"/>
          <a:sy n="77" d="100"/>
        </p:scale>
        <p:origin x="-1614" y="2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644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1" d="100"/>
          <a:sy n="71" d="100"/>
        </p:scale>
        <p:origin x="-2742" y="-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v>External</c:v>
          </c:tx>
          <c:spPr>
            <a:ln w="28575">
              <a:solidFill>
                <a:srgbClr val="4A7EBB"/>
              </a:solidFill>
              <a:prstDash val="solid"/>
              <a:round/>
            </a:ln>
          </c:spPr>
          <c:marker>
            <c:symbol val="none"/>
          </c:marker>
          <c:cat>
            <c:numLit>
              <c:formatCode>General</c:formatCode>
              <c:ptCount val="48"/>
              <c:pt idx="0">
                <c:v>1.249999999999999E-2</c:v>
              </c:pt>
              <c:pt idx="1">
                <c:v>3.3333333333333354E-2</c:v>
              </c:pt>
              <c:pt idx="2">
                <c:v>5.4166666666666717E-2</c:v>
              </c:pt>
              <c:pt idx="3">
                <c:v>7.5000000000000039E-2</c:v>
              </c:pt>
              <c:pt idx="4">
                <c:v>9.5833333333333298E-2</c:v>
              </c:pt>
              <c:pt idx="5">
                <c:v>0.11666666666666707</c:v>
              </c:pt>
              <c:pt idx="6">
                <c:v>0.13750000000000001</c:v>
              </c:pt>
              <c:pt idx="7">
                <c:v>0.15833333333333319</c:v>
              </c:pt>
              <c:pt idx="8">
                <c:v>0.179166666666667</c:v>
              </c:pt>
              <c:pt idx="9">
                <c:v>0.2</c:v>
              </c:pt>
              <c:pt idx="10">
                <c:v>0.22083333333333308</c:v>
              </c:pt>
              <c:pt idx="11">
                <c:v>0.241666666666667</c:v>
              </c:pt>
              <c:pt idx="12">
                <c:v>0.26250000000000001</c:v>
              </c:pt>
              <c:pt idx="13">
                <c:v>0.28333333333333299</c:v>
              </c:pt>
              <c:pt idx="14">
                <c:v>0.30416666666666736</c:v>
              </c:pt>
              <c:pt idx="15">
                <c:v>0.32500000000000023</c:v>
              </c:pt>
              <c:pt idx="16">
                <c:v>0.34583333333333305</c:v>
              </c:pt>
              <c:pt idx="17">
                <c:v>0.36666666666666736</c:v>
              </c:pt>
              <c:pt idx="18">
                <c:v>0.38750000000000023</c:v>
              </c:pt>
              <c:pt idx="19">
                <c:v>0.40833333333333299</c:v>
              </c:pt>
              <c:pt idx="20">
                <c:v>0.42916666666666736</c:v>
              </c:pt>
              <c:pt idx="21">
                <c:v>0.45</c:v>
              </c:pt>
              <c:pt idx="22">
                <c:v>0.47083333333333299</c:v>
              </c:pt>
              <c:pt idx="23">
                <c:v>0.49166666666666736</c:v>
              </c:pt>
              <c:pt idx="24">
                <c:v>0.51249999999999996</c:v>
              </c:pt>
              <c:pt idx="25">
                <c:v>0.53333333333333299</c:v>
              </c:pt>
              <c:pt idx="26">
                <c:v>0.55416666666666659</c:v>
              </c:pt>
              <c:pt idx="27">
                <c:v>0.5750000000000004</c:v>
              </c:pt>
              <c:pt idx="28">
                <c:v>0.5958333333333331</c:v>
              </c:pt>
              <c:pt idx="29">
                <c:v>0.61666666666666703</c:v>
              </c:pt>
              <c:pt idx="30">
                <c:v>0.6375000000000004</c:v>
              </c:pt>
              <c:pt idx="31">
                <c:v>0.65833333333333344</c:v>
              </c:pt>
              <c:pt idx="32">
                <c:v>0.67916666666666703</c:v>
              </c:pt>
              <c:pt idx="33">
                <c:v>0.7000000000000004</c:v>
              </c:pt>
              <c:pt idx="34">
                <c:v>0.72083333333333344</c:v>
              </c:pt>
              <c:pt idx="35">
                <c:v>0.74166666666666703</c:v>
              </c:pt>
              <c:pt idx="36">
                <c:v>0.7625000000000004</c:v>
              </c:pt>
              <c:pt idx="37">
                <c:v>0.78333333333333299</c:v>
              </c:pt>
              <c:pt idx="38">
                <c:v>0.80416666666666659</c:v>
              </c:pt>
              <c:pt idx="39">
                <c:v>0.8250000000000004</c:v>
              </c:pt>
              <c:pt idx="40">
                <c:v>0.84583333333333344</c:v>
              </c:pt>
              <c:pt idx="41">
                <c:v>0.86666666666666703</c:v>
              </c:pt>
              <c:pt idx="42">
                <c:v>0.88750000000000007</c:v>
              </c:pt>
              <c:pt idx="43">
                <c:v>0.90833333333333299</c:v>
              </c:pt>
              <c:pt idx="44">
                <c:v>0.92916666666666659</c:v>
              </c:pt>
              <c:pt idx="45">
                <c:v>0.9500000000000004</c:v>
              </c:pt>
              <c:pt idx="46">
                <c:v>0.97083333333333333</c:v>
              </c:pt>
              <c:pt idx="47">
                <c:v>0.99166666666666659</c:v>
              </c:pt>
            </c:numLit>
          </c:cat>
          <c:val>
            <c:numLit>
              <c:formatCode>General</c:formatCode>
              <c:ptCount val="48"/>
              <c:pt idx="0">
                <c:v>21.8</c:v>
              </c:pt>
              <c:pt idx="1">
                <c:v>22.2</c:v>
              </c:pt>
              <c:pt idx="2">
                <c:v>22.3</c:v>
              </c:pt>
              <c:pt idx="3">
                <c:v>21.4</c:v>
              </c:pt>
              <c:pt idx="4">
                <c:v>20.9</c:v>
              </c:pt>
              <c:pt idx="5">
                <c:v>20.3</c:v>
              </c:pt>
              <c:pt idx="6">
                <c:v>20</c:v>
              </c:pt>
              <c:pt idx="7">
                <c:v>19.5</c:v>
              </c:pt>
              <c:pt idx="8">
                <c:v>19</c:v>
              </c:pt>
              <c:pt idx="9">
                <c:v>18.600000000000001</c:v>
              </c:pt>
              <c:pt idx="10">
                <c:v>18.399999999999999</c:v>
              </c:pt>
              <c:pt idx="11">
                <c:v>18.2</c:v>
              </c:pt>
              <c:pt idx="12">
                <c:v>18.100000000000001</c:v>
              </c:pt>
              <c:pt idx="13">
                <c:v>18.5</c:v>
              </c:pt>
              <c:pt idx="14">
                <c:v>20</c:v>
              </c:pt>
              <c:pt idx="15">
                <c:v>24</c:v>
              </c:pt>
              <c:pt idx="16">
                <c:v>26.6</c:v>
              </c:pt>
              <c:pt idx="17">
                <c:v>28.1</c:v>
              </c:pt>
              <c:pt idx="18">
                <c:v>29.9</c:v>
              </c:pt>
              <c:pt idx="19">
                <c:v>31.4</c:v>
              </c:pt>
              <c:pt idx="20">
                <c:v>33</c:v>
              </c:pt>
              <c:pt idx="21">
                <c:v>34.4</c:v>
              </c:pt>
              <c:pt idx="22">
                <c:v>36.5</c:v>
              </c:pt>
              <c:pt idx="23">
                <c:v>37.5</c:v>
              </c:pt>
              <c:pt idx="24">
                <c:v>37.9</c:v>
              </c:pt>
              <c:pt idx="25">
                <c:v>40.6</c:v>
              </c:pt>
              <c:pt idx="26">
                <c:v>40.6</c:v>
              </c:pt>
              <c:pt idx="27">
                <c:v>42.4</c:v>
              </c:pt>
              <c:pt idx="28">
                <c:v>41.3</c:v>
              </c:pt>
              <c:pt idx="29">
                <c:v>44.3</c:v>
              </c:pt>
              <c:pt idx="30">
                <c:v>42.9</c:v>
              </c:pt>
              <c:pt idx="31">
                <c:v>40.4</c:v>
              </c:pt>
              <c:pt idx="32">
                <c:v>37.5</c:v>
              </c:pt>
              <c:pt idx="33">
                <c:v>35.5</c:v>
              </c:pt>
              <c:pt idx="34">
                <c:v>33.5</c:v>
              </c:pt>
              <c:pt idx="35">
                <c:v>28.3</c:v>
              </c:pt>
              <c:pt idx="36">
                <c:v>24.3</c:v>
              </c:pt>
              <c:pt idx="37">
                <c:v>23.2</c:v>
              </c:pt>
              <c:pt idx="38">
                <c:v>23.2</c:v>
              </c:pt>
              <c:pt idx="39">
                <c:v>23.3</c:v>
              </c:pt>
              <c:pt idx="40">
                <c:v>23.3</c:v>
              </c:pt>
              <c:pt idx="41">
                <c:v>23.1</c:v>
              </c:pt>
              <c:pt idx="42">
                <c:v>23.1</c:v>
              </c:pt>
              <c:pt idx="43">
                <c:v>21.7</c:v>
              </c:pt>
              <c:pt idx="44">
                <c:v>20.399999999999999</c:v>
              </c:pt>
              <c:pt idx="45">
                <c:v>20.3</c:v>
              </c:pt>
              <c:pt idx="46">
                <c:v>20.100000000000001</c:v>
              </c:pt>
              <c:pt idx="47">
                <c:v>19.399999999999999</c:v>
              </c:pt>
            </c:numLit>
          </c:val>
          <c:smooth val="0"/>
        </c:ser>
        <c:ser>
          <c:idx val="1"/>
          <c:order val="1"/>
          <c:tx>
            <c:v>Uninsulated</c:v>
          </c:tx>
          <c:spPr>
            <a:ln w="28575">
              <a:solidFill>
                <a:srgbClr val="BE4B48"/>
              </a:solidFill>
              <a:prstDash val="solid"/>
              <a:round/>
            </a:ln>
          </c:spPr>
          <c:marker>
            <c:symbol val="none"/>
          </c:marker>
          <c:cat>
            <c:numLit>
              <c:formatCode>General</c:formatCode>
              <c:ptCount val="48"/>
              <c:pt idx="0">
                <c:v>1.249999999999999E-2</c:v>
              </c:pt>
              <c:pt idx="1">
                <c:v>3.3333333333333354E-2</c:v>
              </c:pt>
              <c:pt idx="2">
                <c:v>5.4166666666666717E-2</c:v>
              </c:pt>
              <c:pt idx="3">
                <c:v>7.5000000000000039E-2</c:v>
              </c:pt>
              <c:pt idx="4">
                <c:v>9.5833333333333298E-2</c:v>
              </c:pt>
              <c:pt idx="5">
                <c:v>0.11666666666666707</c:v>
              </c:pt>
              <c:pt idx="6">
                <c:v>0.13750000000000001</c:v>
              </c:pt>
              <c:pt idx="7">
                <c:v>0.15833333333333319</c:v>
              </c:pt>
              <c:pt idx="8">
                <c:v>0.179166666666667</c:v>
              </c:pt>
              <c:pt idx="9">
                <c:v>0.2</c:v>
              </c:pt>
              <c:pt idx="10">
                <c:v>0.22083333333333308</c:v>
              </c:pt>
              <c:pt idx="11">
                <c:v>0.241666666666667</c:v>
              </c:pt>
              <c:pt idx="12">
                <c:v>0.26250000000000001</c:v>
              </c:pt>
              <c:pt idx="13">
                <c:v>0.28333333333333299</c:v>
              </c:pt>
              <c:pt idx="14">
                <c:v>0.30416666666666736</c:v>
              </c:pt>
              <c:pt idx="15">
                <c:v>0.32500000000000023</c:v>
              </c:pt>
              <c:pt idx="16">
                <c:v>0.34583333333333305</c:v>
              </c:pt>
              <c:pt idx="17">
                <c:v>0.36666666666666736</c:v>
              </c:pt>
              <c:pt idx="18">
                <c:v>0.38750000000000023</c:v>
              </c:pt>
              <c:pt idx="19">
                <c:v>0.40833333333333299</c:v>
              </c:pt>
              <c:pt idx="20">
                <c:v>0.42916666666666736</c:v>
              </c:pt>
              <c:pt idx="21">
                <c:v>0.45</c:v>
              </c:pt>
              <c:pt idx="22">
                <c:v>0.47083333333333299</c:v>
              </c:pt>
              <c:pt idx="23">
                <c:v>0.49166666666666736</c:v>
              </c:pt>
              <c:pt idx="24">
                <c:v>0.51249999999999996</c:v>
              </c:pt>
              <c:pt idx="25">
                <c:v>0.53333333333333299</c:v>
              </c:pt>
              <c:pt idx="26">
                <c:v>0.55416666666666659</c:v>
              </c:pt>
              <c:pt idx="27">
                <c:v>0.5750000000000004</c:v>
              </c:pt>
              <c:pt idx="28">
                <c:v>0.5958333333333331</c:v>
              </c:pt>
              <c:pt idx="29">
                <c:v>0.61666666666666703</c:v>
              </c:pt>
              <c:pt idx="30">
                <c:v>0.6375000000000004</c:v>
              </c:pt>
              <c:pt idx="31">
                <c:v>0.65833333333333344</c:v>
              </c:pt>
              <c:pt idx="32">
                <c:v>0.67916666666666703</c:v>
              </c:pt>
              <c:pt idx="33">
                <c:v>0.7000000000000004</c:v>
              </c:pt>
              <c:pt idx="34">
                <c:v>0.72083333333333344</c:v>
              </c:pt>
              <c:pt idx="35">
                <c:v>0.74166666666666703</c:v>
              </c:pt>
              <c:pt idx="36">
                <c:v>0.7625000000000004</c:v>
              </c:pt>
              <c:pt idx="37">
                <c:v>0.78333333333333299</c:v>
              </c:pt>
              <c:pt idx="38">
                <c:v>0.80416666666666659</c:v>
              </c:pt>
              <c:pt idx="39">
                <c:v>0.8250000000000004</c:v>
              </c:pt>
              <c:pt idx="40">
                <c:v>0.84583333333333344</c:v>
              </c:pt>
              <c:pt idx="41">
                <c:v>0.86666666666666703</c:v>
              </c:pt>
              <c:pt idx="42">
                <c:v>0.88750000000000007</c:v>
              </c:pt>
              <c:pt idx="43">
                <c:v>0.90833333333333299</c:v>
              </c:pt>
              <c:pt idx="44">
                <c:v>0.92916666666666659</c:v>
              </c:pt>
              <c:pt idx="45">
                <c:v>0.9500000000000004</c:v>
              </c:pt>
              <c:pt idx="46">
                <c:v>0.97083333333333333</c:v>
              </c:pt>
              <c:pt idx="47">
                <c:v>0.99166666666666659</c:v>
              </c:pt>
            </c:numLit>
          </c:cat>
          <c:val>
            <c:numLit>
              <c:formatCode>General</c:formatCode>
              <c:ptCount val="48"/>
              <c:pt idx="0">
                <c:v>21.9</c:v>
              </c:pt>
              <c:pt idx="1">
                <c:v>21.5</c:v>
              </c:pt>
              <c:pt idx="2">
                <c:v>21.3</c:v>
              </c:pt>
              <c:pt idx="3">
                <c:v>21.1</c:v>
              </c:pt>
              <c:pt idx="4">
                <c:v>20.8</c:v>
              </c:pt>
              <c:pt idx="5">
                <c:v>20.5</c:v>
              </c:pt>
              <c:pt idx="6">
                <c:v>20.100000000000001</c:v>
              </c:pt>
              <c:pt idx="7">
                <c:v>19.8</c:v>
              </c:pt>
              <c:pt idx="8">
                <c:v>19.5</c:v>
              </c:pt>
              <c:pt idx="9">
                <c:v>19.100000000000001</c:v>
              </c:pt>
              <c:pt idx="10">
                <c:v>18.8</c:v>
              </c:pt>
              <c:pt idx="11">
                <c:v>18.399999999999999</c:v>
              </c:pt>
              <c:pt idx="12">
                <c:v>18.2</c:v>
              </c:pt>
              <c:pt idx="13">
                <c:v>18</c:v>
              </c:pt>
              <c:pt idx="14">
                <c:v>17.899999999999999</c:v>
              </c:pt>
              <c:pt idx="15">
                <c:v>18.2</c:v>
              </c:pt>
              <c:pt idx="16">
                <c:v>19</c:v>
              </c:pt>
              <c:pt idx="17">
                <c:v>20.2</c:v>
              </c:pt>
              <c:pt idx="18">
                <c:v>21.8</c:v>
              </c:pt>
              <c:pt idx="19">
                <c:v>23.5</c:v>
              </c:pt>
              <c:pt idx="20">
                <c:v>25.1</c:v>
              </c:pt>
              <c:pt idx="21">
                <c:v>26.8</c:v>
              </c:pt>
              <c:pt idx="22">
                <c:v>28.4</c:v>
              </c:pt>
              <c:pt idx="23">
                <c:v>30.2</c:v>
              </c:pt>
              <c:pt idx="24">
                <c:v>31.5</c:v>
              </c:pt>
              <c:pt idx="25">
                <c:v>32.700000000000003</c:v>
              </c:pt>
              <c:pt idx="26">
                <c:v>33.9</c:v>
              </c:pt>
              <c:pt idx="27">
                <c:v>35</c:v>
              </c:pt>
              <c:pt idx="28">
                <c:v>35.800000000000004</c:v>
              </c:pt>
              <c:pt idx="29">
                <c:v>36.4</c:v>
              </c:pt>
              <c:pt idx="30">
                <c:v>36.700000000000003</c:v>
              </c:pt>
              <c:pt idx="31">
                <c:v>36.800000000000004</c:v>
              </c:pt>
              <c:pt idx="32">
                <c:v>36.6</c:v>
              </c:pt>
              <c:pt idx="33">
                <c:v>36</c:v>
              </c:pt>
              <c:pt idx="34">
                <c:v>35.200000000000003</c:v>
              </c:pt>
              <c:pt idx="35">
                <c:v>34.1</c:v>
              </c:pt>
              <c:pt idx="36">
                <c:v>32.300000000000004</c:v>
              </c:pt>
              <c:pt idx="37">
                <c:v>29.8</c:v>
              </c:pt>
              <c:pt idx="38">
                <c:v>27.6</c:v>
              </c:pt>
              <c:pt idx="39">
                <c:v>26</c:v>
              </c:pt>
              <c:pt idx="40">
                <c:v>25</c:v>
              </c:pt>
              <c:pt idx="41">
                <c:v>24.3</c:v>
              </c:pt>
              <c:pt idx="42">
                <c:v>23.7</c:v>
              </c:pt>
              <c:pt idx="43">
                <c:v>23.3</c:v>
              </c:pt>
              <c:pt idx="44">
                <c:v>22.8</c:v>
              </c:pt>
              <c:pt idx="45">
                <c:v>22.2</c:v>
              </c:pt>
              <c:pt idx="46">
                <c:v>21.6</c:v>
              </c:pt>
              <c:pt idx="47">
                <c:v>21.2</c:v>
              </c:pt>
            </c:numLit>
          </c:val>
          <c:smooth val="0"/>
        </c:ser>
        <c:ser>
          <c:idx val="2"/>
          <c:order val="2"/>
          <c:tx>
            <c:v>Insulated</c:v>
          </c:tx>
          <c:spPr>
            <a:ln w="28575">
              <a:solidFill>
                <a:srgbClr val="98B954"/>
              </a:solidFill>
              <a:prstDash val="solid"/>
              <a:round/>
            </a:ln>
          </c:spPr>
          <c:marker>
            <c:symbol val="none"/>
          </c:marker>
          <c:cat>
            <c:numLit>
              <c:formatCode>General</c:formatCode>
              <c:ptCount val="48"/>
              <c:pt idx="0">
                <c:v>1.249999999999999E-2</c:v>
              </c:pt>
              <c:pt idx="1">
                <c:v>3.3333333333333354E-2</c:v>
              </c:pt>
              <c:pt idx="2">
                <c:v>5.4166666666666717E-2</c:v>
              </c:pt>
              <c:pt idx="3">
                <c:v>7.5000000000000039E-2</c:v>
              </c:pt>
              <c:pt idx="4">
                <c:v>9.5833333333333298E-2</c:v>
              </c:pt>
              <c:pt idx="5">
                <c:v>0.11666666666666707</c:v>
              </c:pt>
              <c:pt idx="6">
                <c:v>0.13750000000000001</c:v>
              </c:pt>
              <c:pt idx="7">
                <c:v>0.15833333333333319</c:v>
              </c:pt>
              <c:pt idx="8">
                <c:v>0.179166666666667</c:v>
              </c:pt>
              <c:pt idx="9">
                <c:v>0.2</c:v>
              </c:pt>
              <c:pt idx="10">
                <c:v>0.22083333333333308</c:v>
              </c:pt>
              <c:pt idx="11">
                <c:v>0.241666666666667</c:v>
              </c:pt>
              <c:pt idx="12">
                <c:v>0.26250000000000001</c:v>
              </c:pt>
              <c:pt idx="13">
                <c:v>0.28333333333333299</c:v>
              </c:pt>
              <c:pt idx="14">
                <c:v>0.30416666666666736</c:v>
              </c:pt>
              <c:pt idx="15">
                <c:v>0.32500000000000023</c:v>
              </c:pt>
              <c:pt idx="16">
                <c:v>0.34583333333333305</c:v>
              </c:pt>
              <c:pt idx="17">
                <c:v>0.36666666666666736</c:v>
              </c:pt>
              <c:pt idx="18">
                <c:v>0.38750000000000023</c:v>
              </c:pt>
              <c:pt idx="19">
                <c:v>0.40833333333333299</c:v>
              </c:pt>
              <c:pt idx="20">
                <c:v>0.42916666666666736</c:v>
              </c:pt>
              <c:pt idx="21">
                <c:v>0.45</c:v>
              </c:pt>
              <c:pt idx="22">
                <c:v>0.47083333333333299</c:v>
              </c:pt>
              <c:pt idx="23">
                <c:v>0.49166666666666736</c:v>
              </c:pt>
              <c:pt idx="24">
                <c:v>0.51249999999999996</c:v>
              </c:pt>
              <c:pt idx="25">
                <c:v>0.53333333333333299</c:v>
              </c:pt>
              <c:pt idx="26">
                <c:v>0.55416666666666659</c:v>
              </c:pt>
              <c:pt idx="27">
                <c:v>0.5750000000000004</c:v>
              </c:pt>
              <c:pt idx="28">
                <c:v>0.5958333333333331</c:v>
              </c:pt>
              <c:pt idx="29">
                <c:v>0.61666666666666703</c:v>
              </c:pt>
              <c:pt idx="30">
                <c:v>0.6375000000000004</c:v>
              </c:pt>
              <c:pt idx="31">
                <c:v>0.65833333333333344</c:v>
              </c:pt>
              <c:pt idx="32">
                <c:v>0.67916666666666703</c:v>
              </c:pt>
              <c:pt idx="33">
                <c:v>0.7000000000000004</c:v>
              </c:pt>
              <c:pt idx="34">
                <c:v>0.72083333333333344</c:v>
              </c:pt>
              <c:pt idx="35">
                <c:v>0.74166666666666703</c:v>
              </c:pt>
              <c:pt idx="36">
                <c:v>0.7625000000000004</c:v>
              </c:pt>
              <c:pt idx="37">
                <c:v>0.78333333333333299</c:v>
              </c:pt>
              <c:pt idx="38">
                <c:v>0.80416666666666659</c:v>
              </c:pt>
              <c:pt idx="39">
                <c:v>0.8250000000000004</c:v>
              </c:pt>
              <c:pt idx="40">
                <c:v>0.84583333333333344</c:v>
              </c:pt>
              <c:pt idx="41">
                <c:v>0.86666666666666703</c:v>
              </c:pt>
              <c:pt idx="42">
                <c:v>0.88750000000000007</c:v>
              </c:pt>
              <c:pt idx="43">
                <c:v>0.90833333333333299</c:v>
              </c:pt>
              <c:pt idx="44">
                <c:v>0.92916666666666659</c:v>
              </c:pt>
              <c:pt idx="45">
                <c:v>0.9500000000000004</c:v>
              </c:pt>
              <c:pt idx="46">
                <c:v>0.97083333333333333</c:v>
              </c:pt>
              <c:pt idx="47">
                <c:v>0.99166666666666659</c:v>
              </c:pt>
            </c:numLit>
          </c:cat>
          <c:val>
            <c:numLit>
              <c:formatCode>General</c:formatCode>
              <c:ptCount val="48"/>
              <c:pt idx="0">
                <c:v>25.1</c:v>
              </c:pt>
              <c:pt idx="1">
                <c:v>25</c:v>
              </c:pt>
              <c:pt idx="2">
                <c:v>24.8</c:v>
              </c:pt>
              <c:pt idx="3">
                <c:v>24.4</c:v>
              </c:pt>
              <c:pt idx="4">
                <c:v>24.1</c:v>
              </c:pt>
              <c:pt idx="5">
                <c:v>23.8</c:v>
              </c:pt>
              <c:pt idx="6">
                <c:v>23.5</c:v>
              </c:pt>
              <c:pt idx="7">
                <c:v>23.3</c:v>
              </c:pt>
              <c:pt idx="8">
                <c:v>22.9</c:v>
              </c:pt>
              <c:pt idx="9">
                <c:v>22.5</c:v>
              </c:pt>
              <c:pt idx="10">
                <c:v>22.3</c:v>
              </c:pt>
              <c:pt idx="11">
                <c:v>22</c:v>
              </c:pt>
              <c:pt idx="12">
                <c:v>21.7</c:v>
              </c:pt>
              <c:pt idx="13">
                <c:v>21.5</c:v>
              </c:pt>
              <c:pt idx="14">
                <c:v>21.5</c:v>
              </c:pt>
              <c:pt idx="15">
                <c:v>21.9</c:v>
              </c:pt>
              <c:pt idx="16">
                <c:v>22.4</c:v>
              </c:pt>
              <c:pt idx="17">
                <c:v>22.8</c:v>
              </c:pt>
              <c:pt idx="18">
                <c:v>23.4</c:v>
              </c:pt>
              <c:pt idx="19">
                <c:v>24</c:v>
              </c:pt>
              <c:pt idx="20">
                <c:v>24.7</c:v>
              </c:pt>
              <c:pt idx="21">
                <c:v>25.4</c:v>
              </c:pt>
              <c:pt idx="22">
                <c:v>26.2</c:v>
              </c:pt>
              <c:pt idx="23">
                <c:v>27.7</c:v>
              </c:pt>
              <c:pt idx="24">
                <c:v>28.1</c:v>
              </c:pt>
              <c:pt idx="25">
                <c:v>28.6</c:v>
              </c:pt>
              <c:pt idx="26">
                <c:v>29.2</c:v>
              </c:pt>
              <c:pt idx="27">
                <c:v>29.7</c:v>
              </c:pt>
              <c:pt idx="28">
                <c:v>29.9</c:v>
              </c:pt>
              <c:pt idx="29">
                <c:v>30.4</c:v>
              </c:pt>
              <c:pt idx="30">
                <c:v>30.7</c:v>
              </c:pt>
              <c:pt idx="31">
                <c:v>30.8</c:v>
              </c:pt>
              <c:pt idx="32">
                <c:v>30.8</c:v>
              </c:pt>
              <c:pt idx="33">
                <c:v>30.6</c:v>
              </c:pt>
              <c:pt idx="34">
                <c:v>30.4</c:v>
              </c:pt>
              <c:pt idx="35">
                <c:v>29.8</c:v>
              </c:pt>
              <c:pt idx="36">
                <c:v>29.1</c:v>
              </c:pt>
              <c:pt idx="37">
                <c:v>28.5</c:v>
              </c:pt>
              <c:pt idx="38">
                <c:v>28</c:v>
              </c:pt>
              <c:pt idx="39">
                <c:v>27.7</c:v>
              </c:pt>
              <c:pt idx="40">
                <c:v>27.4</c:v>
              </c:pt>
              <c:pt idx="41">
                <c:v>27</c:v>
              </c:pt>
              <c:pt idx="42">
                <c:v>26.7</c:v>
              </c:pt>
              <c:pt idx="43">
                <c:v>26.1</c:v>
              </c:pt>
              <c:pt idx="44">
                <c:v>25.5</c:v>
              </c:pt>
              <c:pt idx="45">
                <c:v>25.2</c:v>
              </c:pt>
              <c:pt idx="46">
                <c:v>24.9</c:v>
              </c:pt>
              <c:pt idx="47">
                <c:v>24.4</c:v>
              </c:pt>
            </c:numLit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116992"/>
        <c:axId val="126111104"/>
      </c:lineChart>
      <c:valAx>
        <c:axId val="126111104"/>
        <c:scaling>
          <c:orientation val="minMax"/>
          <c:max val="50"/>
          <c:min val="15"/>
        </c:scaling>
        <c:delete val="0"/>
        <c:axPos val="l"/>
        <c:majorGridlines>
          <c:spPr>
            <a:ln w="9528">
              <a:solidFill>
                <a:srgbClr val="868686"/>
              </a:solidFill>
              <a:prstDash val="solid"/>
              <a:round/>
            </a:ln>
          </c:spPr>
        </c:majorGridlines>
        <c:numFmt formatCode="&quot; &quot;#,##0.00&quot; &quot;;&quot; (&quot;#,##0.00&quot;)&quot;;&quot; -&quot;00&quot; &quot;;&quot; &quot;" sourceLinked="0"/>
        <c:majorTickMark val="out"/>
        <c:minorTickMark val="none"/>
        <c:tickLblPos val="nextTo"/>
        <c:spPr>
          <a:noFill/>
          <a:ln w="9528">
            <a:solidFill>
              <a:srgbClr val="868686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000" b="0" i="0" u="none" strike="noStrike" kern="1200" baseline="0">
                <a:solidFill>
                  <a:schemeClr val="tx1"/>
                </a:solidFill>
                <a:latin typeface="Calibri"/>
              </a:defRPr>
            </a:pPr>
            <a:endParaRPr lang="en-US"/>
          </a:p>
        </c:txPr>
        <c:crossAx val="126116992"/>
        <c:crosses val="autoZero"/>
        <c:crossBetween val="between"/>
      </c:valAx>
      <c:catAx>
        <c:axId val="126116992"/>
        <c:scaling>
          <c:orientation val="minMax"/>
        </c:scaling>
        <c:delete val="0"/>
        <c:axPos val="b"/>
        <c:numFmt formatCode="h&quot;:&quot;mm;" sourceLinked="0"/>
        <c:majorTickMark val="out"/>
        <c:minorTickMark val="none"/>
        <c:tickLblPos val="nextTo"/>
        <c:spPr>
          <a:noFill/>
          <a:ln w="9528">
            <a:solidFill>
              <a:srgbClr val="868686"/>
            </a:solidFill>
            <a:prstDash val="solid"/>
            <a:round/>
          </a:ln>
        </c:spPr>
        <c:txPr>
          <a:bodyPr lIns="0" tIns="0" rIns="0" bIns="0"/>
          <a:lstStyle/>
          <a:p>
            <a:pPr marL="0" marR="0" indent="0"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1000" b="0" i="0" u="none" strike="noStrike" kern="1200" baseline="0">
                <a:solidFill>
                  <a:schemeClr val="tx1"/>
                </a:solidFill>
                <a:latin typeface="Calibri"/>
              </a:defRPr>
            </a:pPr>
            <a:endParaRPr lang="en-US"/>
          </a:p>
        </c:txPr>
        <c:crossAx val="126111104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r"/>
      <c:layout/>
      <c:overlay val="0"/>
      <c:spPr>
        <a:noFill/>
        <a:ln>
          <a:noFill/>
        </a:ln>
      </c:spPr>
      <c:txPr>
        <a:bodyPr lIns="0" tIns="0" rIns="0" bIns="0"/>
        <a:lstStyle/>
        <a:p>
          <a:pPr marL="0" marR="0" indent="0" defTabSz="914400" fontAlgn="auto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tabLst/>
            <a:defRPr sz="1000" b="0" i="0" u="none" strike="noStrike" kern="1200" baseline="0">
              <a:solidFill>
                <a:schemeClr val="tx1"/>
              </a:solidFill>
              <a:latin typeface="Calibri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 lIns="0" tIns="0" rIns="0" bIns="0"/>
    <a:lstStyle/>
    <a:p>
      <a:pPr marL="0" marR="0" indent="0" algn="ctr" defTabSz="914400" fontAlgn="auto" hangingPunct="1">
        <a:lnSpc>
          <a:spcPct val="100000"/>
        </a:lnSpc>
        <a:spcBef>
          <a:spcPts val="0"/>
        </a:spcBef>
        <a:spcAft>
          <a:spcPts val="0"/>
        </a:spcAft>
        <a:tabLst/>
        <a:defRPr lang="en-US" sz="1000" b="0" i="0" u="none" strike="noStrike" kern="1200" baseline="0">
          <a:solidFill>
            <a:srgbClr val="000000"/>
          </a:solidFill>
          <a:latin typeface="Calibri"/>
        </a:defRPr>
      </a:pPr>
      <a:endParaRPr lang="en-US"/>
    </a:p>
  </c:txPr>
  <c:externalData r:id="rId1">
    <c:autoUpdate val="0"/>
  </c:externalData>
</c:chartSpace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8.png"/><Relationship Id="rId1" Type="http://schemas.openxmlformats.org/officeDocument/2006/relationships/image" Target="../media/image7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8.png"/><Relationship Id="rId1" Type="http://schemas.openxmlformats.org/officeDocument/2006/relationships/image" Target="../media/image7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A9E999-429F-4348-B318-401749547A68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B475E56-1FE0-46A4-BA50-549951C95E7F}">
      <dgm:prSet custT="1"/>
      <dgm:spPr/>
      <dgm:t>
        <a:bodyPr/>
        <a:lstStyle/>
        <a:p>
          <a:pPr algn="ctr" rtl="0"/>
          <a:r>
            <a:rPr lang="en-US" sz="4400" b="0" dirty="0" smtClean="0">
              <a:latin typeface="+mj-lt"/>
            </a:rPr>
            <a:t>A Unique Vision</a:t>
          </a:r>
          <a:endParaRPr lang="en-US" sz="4400" b="0" dirty="0">
            <a:latin typeface="+mj-lt"/>
          </a:endParaRPr>
        </a:p>
      </dgm:t>
    </dgm:pt>
    <dgm:pt modelId="{76AC2023-76D6-4EB3-8EB6-EEC1A00E9A78}" type="parTrans" cxnId="{7DCF2252-EBA3-40BD-92CB-7AD89F73DAFD}">
      <dgm:prSet/>
      <dgm:spPr/>
      <dgm:t>
        <a:bodyPr/>
        <a:lstStyle/>
        <a:p>
          <a:endParaRPr lang="en-US"/>
        </a:p>
      </dgm:t>
    </dgm:pt>
    <dgm:pt modelId="{819243FA-6713-4099-9459-8F3D7767181F}" type="sibTrans" cxnId="{7DCF2252-EBA3-40BD-92CB-7AD89F73DAFD}">
      <dgm:prSet/>
      <dgm:spPr/>
      <dgm:t>
        <a:bodyPr/>
        <a:lstStyle/>
        <a:p>
          <a:endParaRPr lang="en-US"/>
        </a:p>
      </dgm:t>
    </dgm:pt>
    <dgm:pt modelId="{36FFEA6D-A009-4DCA-93B4-BF957DE598A5}">
      <dgm:prSet custT="1"/>
      <dgm:spPr/>
      <dgm:t>
        <a:bodyPr/>
        <a:lstStyle/>
        <a:p>
          <a:pPr algn="ctr" rtl="0"/>
          <a:endParaRPr lang="en-US" sz="20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E222C3-617F-4701-B8CE-F62BD6357539}" type="parTrans" cxnId="{D5FD01AA-75B6-480A-9BB6-69C45236EF1A}">
      <dgm:prSet/>
      <dgm:spPr/>
      <dgm:t>
        <a:bodyPr/>
        <a:lstStyle/>
        <a:p>
          <a:endParaRPr lang="en-US"/>
        </a:p>
      </dgm:t>
    </dgm:pt>
    <dgm:pt modelId="{8C946C8A-0C2F-45C3-B49B-58F6ACDC9B7A}" type="sibTrans" cxnId="{D5FD01AA-75B6-480A-9BB6-69C45236EF1A}">
      <dgm:prSet/>
      <dgm:spPr/>
      <dgm:t>
        <a:bodyPr/>
        <a:lstStyle/>
        <a:p>
          <a:endParaRPr lang="en-US"/>
        </a:p>
      </dgm:t>
    </dgm:pt>
    <dgm:pt modelId="{0EA2EFB2-2BD8-4B69-B1CA-36458B12B5FB}" type="pres">
      <dgm:prSet presAssocID="{BFA9E999-429F-4348-B318-401749547A68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F7DE8F7A-F0DA-4DAD-B480-4AA74C74E193}" type="pres">
      <dgm:prSet presAssocID="{AB475E56-1FE0-46A4-BA50-549951C95E7F}" presName="thickLine" presStyleLbl="alignNode1" presStyleIdx="0" presStyleCnt="2"/>
      <dgm:spPr/>
    </dgm:pt>
    <dgm:pt modelId="{8E7EF3CC-9E71-4647-8634-9BF61A086FE4}" type="pres">
      <dgm:prSet presAssocID="{AB475E56-1FE0-46A4-BA50-549951C95E7F}" presName="horz1" presStyleCnt="0"/>
      <dgm:spPr/>
    </dgm:pt>
    <dgm:pt modelId="{F8E17F9D-E259-43B0-94CC-1BAFDF4B6B46}" type="pres">
      <dgm:prSet presAssocID="{AB475E56-1FE0-46A4-BA50-549951C95E7F}" presName="tx1" presStyleLbl="revTx" presStyleIdx="0" presStyleCnt="2"/>
      <dgm:spPr/>
      <dgm:t>
        <a:bodyPr/>
        <a:lstStyle/>
        <a:p>
          <a:endParaRPr lang="en-US"/>
        </a:p>
      </dgm:t>
    </dgm:pt>
    <dgm:pt modelId="{246D792A-FCE8-4706-AB69-30FD8BF8E4C8}" type="pres">
      <dgm:prSet presAssocID="{AB475E56-1FE0-46A4-BA50-549951C95E7F}" presName="vert1" presStyleCnt="0"/>
      <dgm:spPr/>
    </dgm:pt>
    <dgm:pt modelId="{F7543B1B-3626-4CD7-8031-98BE84770BDE}" type="pres">
      <dgm:prSet presAssocID="{36FFEA6D-A009-4DCA-93B4-BF957DE598A5}" presName="thickLine" presStyleLbl="alignNode1" presStyleIdx="1" presStyleCnt="2"/>
      <dgm:spPr/>
    </dgm:pt>
    <dgm:pt modelId="{CADB8B16-9169-4F43-9571-50D7AE24FCA2}" type="pres">
      <dgm:prSet presAssocID="{36FFEA6D-A009-4DCA-93B4-BF957DE598A5}" presName="horz1" presStyleCnt="0"/>
      <dgm:spPr/>
    </dgm:pt>
    <dgm:pt modelId="{90BA866B-F2A8-43A6-BB26-8EFB145E0E28}" type="pres">
      <dgm:prSet presAssocID="{36FFEA6D-A009-4DCA-93B4-BF957DE598A5}" presName="tx1" presStyleLbl="revTx" presStyleIdx="1" presStyleCnt="2"/>
      <dgm:spPr/>
      <dgm:t>
        <a:bodyPr/>
        <a:lstStyle/>
        <a:p>
          <a:endParaRPr lang="en-US"/>
        </a:p>
      </dgm:t>
    </dgm:pt>
    <dgm:pt modelId="{1C8CB367-6ADE-4C03-9555-7CAA0D7AAFA0}" type="pres">
      <dgm:prSet presAssocID="{36FFEA6D-A009-4DCA-93B4-BF957DE598A5}" presName="vert1" presStyleCnt="0"/>
      <dgm:spPr/>
    </dgm:pt>
  </dgm:ptLst>
  <dgm:cxnLst>
    <dgm:cxn modelId="{D36DDFCB-D482-4A8D-9970-A3EF8909A340}" type="presOf" srcId="{BFA9E999-429F-4348-B318-401749547A68}" destId="{0EA2EFB2-2BD8-4B69-B1CA-36458B12B5FB}" srcOrd="0" destOrd="0" presId="urn:microsoft.com/office/officeart/2008/layout/LinedList"/>
    <dgm:cxn modelId="{AC3A351C-6E08-4B50-83D6-CA46C4C5C89B}" type="presOf" srcId="{AB475E56-1FE0-46A4-BA50-549951C95E7F}" destId="{F8E17F9D-E259-43B0-94CC-1BAFDF4B6B46}" srcOrd="0" destOrd="0" presId="urn:microsoft.com/office/officeart/2008/layout/LinedList"/>
    <dgm:cxn modelId="{7DCF2252-EBA3-40BD-92CB-7AD89F73DAFD}" srcId="{BFA9E999-429F-4348-B318-401749547A68}" destId="{AB475E56-1FE0-46A4-BA50-549951C95E7F}" srcOrd="0" destOrd="0" parTransId="{76AC2023-76D6-4EB3-8EB6-EEC1A00E9A78}" sibTransId="{819243FA-6713-4099-9459-8F3D7767181F}"/>
    <dgm:cxn modelId="{D5FD01AA-75B6-480A-9BB6-69C45236EF1A}" srcId="{BFA9E999-429F-4348-B318-401749547A68}" destId="{36FFEA6D-A009-4DCA-93B4-BF957DE598A5}" srcOrd="1" destOrd="0" parTransId="{45E222C3-617F-4701-B8CE-F62BD6357539}" sibTransId="{8C946C8A-0C2F-45C3-B49B-58F6ACDC9B7A}"/>
    <dgm:cxn modelId="{8F8DEA1A-ABAB-4AD1-BF6A-6CA2AABB9397}" type="presOf" srcId="{36FFEA6D-A009-4DCA-93B4-BF957DE598A5}" destId="{90BA866B-F2A8-43A6-BB26-8EFB145E0E28}" srcOrd="0" destOrd="0" presId="urn:microsoft.com/office/officeart/2008/layout/LinedList"/>
    <dgm:cxn modelId="{F11EE7DD-442B-4C44-8DA5-261F4075F587}" type="presParOf" srcId="{0EA2EFB2-2BD8-4B69-B1CA-36458B12B5FB}" destId="{F7DE8F7A-F0DA-4DAD-B480-4AA74C74E193}" srcOrd="0" destOrd="0" presId="urn:microsoft.com/office/officeart/2008/layout/LinedList"/>
    <dgm:cxn modelId="{27A94071-DA50-43B1-9498-312208821FE3}" type="presParOf" srcId="{0EA2EFB2-2BD8-4B69-B1CA-36458B12B5FB}" destId="{8E7EF3CC-9E71-4647-8634-9BF61A086FE4}" srcOrd="1" destOrd="0" presId="urn:microsoft.com/office/officeart/2008/layout/LinedList"/>
    <dgm:cxn modelId="{27F75975-AE76-4315-8386-1E2656A604AB}" type="presParOf" srcId="{8E7EF3CC-9E71-4647-8634-9BF61A086FE4}" destId="{F8E17F9D-E259-43B0-94CC-1BAFDF4B6B46}" srcOrd="0" destOrd="0" presId="urn:microsoft.com/office/officeart/2008/layout/LinedList"/>
    <dgm:cxn modelId="{77B9953E-DA4D-4A44-A05C-5D967AEBD74F}" type="presParOf" srcId="{8E7EF3CC-9E71-4647-8634-9BF61A086FE4}" destId="{246D792A-FCE8-4706-AB69-30FD8BF8E4C8}" srcOrd="1" destOrd="0" presId="urn:microsoft.com/office/officeart/2008/layout/LinedList"/>
    <dgm:cxn modelId="{475BD547-A771-48C2-99D4-2B2538E82E69}" type="presParOf" srcId="{0EA2EFB2-2BD8-4B69-B1CA-36458B12B5FB}" destId="{F7543B1B-3626-4CD7-8031-98BE84770BDE}" srcOrd="2" destOrd="0" presId="urn:microsoft.com/office/officeart/2008/layout/LinedList"/>
    <dgm:cxn modelId="{2E7ABBFD-8114-467A-9733-0E182D771102}" type="presParOf" srcId="{0EA2EFB2-2BD8-4B69-B1CA-36458B12B5FB}" destId="{CADB8B16-9169-4F43-9571-50D7AE24FCA2}" srcOrd="3" destOrd="0" presId="urn:microsoft.com/office/officeart/2008/layout/LinedList"/>
    <dgm:cxn modelId="{A7CA2EC8-6888-48FF-9EE1-3CEDC323C539}" type="presParOf" srcId="{CADB8B16-9169-4F43-9571-50D7AE24FCA2}" destId="{90BA866B-F2A8-43A6-BB26-8EFB145E0E28}" srcOrd="0" destOrd="0" presId="urn:microsoft.com/office/officeart/2008/layout/LinedList"/>
    <dgm:cxn modelId="{7B585457-3D3C-4AFB-82B6-5E8558F27F58}" type="presParOf" srcId="{CADB8B16-9169-4F43-9571-50D7AE24FCA2}" destId="{1C8CB367-6ADE-4C03-9555-7CAA0D7AAFA0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4249864-C635-42BE-B0D8-22693B0E814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CAEFDDA-3D1B-4276-80DC-4462DE7A77F1}">
      <dgm:prSet custT="1"/>
      <dgm:spPr/>
      <dgm:t>
        <a:bodyPr/>
        <a:lstStyle/>
        <a:p>
          <a:pPr rtl="0"/>
          <a:r>
            <a:rPr lang="en-US" sz="1600" dirty="0" smtClean="0">
              <a:latin typeface="Arial" panose="020B0604020202020204" pitchFamily="34" charset="0"/>
              <a:cs typeface="Arial" panose="020B0604020202020204" pitchFamily="34" charset="0"/>
            </a:rPr>
            <a:t>BEE and the insulation industry leaders have collaborated together for the establishment of "India Insulation Forum (IIF)“ in 2013. </a:t>
          </a:r>
          <a:endParaRPr lang="en-US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64FC2A3-6F23-4652-B450-5A4A3226E65A}" type="parTrans" cxnId="{A925BAE3-F155-457F-90F2-EF42EA1D2AB9}">
      <dgm:prSet/>
      <dgm:spPr/>
      <dgm:t>
        <a:bodyPr/>
        <a:lstStyle/>
        <a:p>
          <a:endParaRPr lang="en-US"/>
        </a:p>
      </dgm:t>
    </dgm:pt>
    <dgm:pt modelId="{353415FC-B639-4C2F-87DA-ABD597A84EFC}" type="sibTrans" cxnId="{A925BAE3-F155-457F-90F2-EF42EA1D2AB9}">
      <dgm:prSet/>
      <dgm:spPr/>
      <dgm:t>
        <a:bodyPr/>
        <a:lstStyle/>
        <a:p>
          <a:endParaRPr lang="en-US"/>
        </a:p>
      </dgm:t>
    </dgm:pt>
    <dgm:pt modelId="{F22D994E-30E9-4A58-908B-2C00D3225E5C}">
      <dgm:prSet custT="1"/>
      <dgm:spPr/>
      <dgm:t>
        <a:bodyPr/>
        <a:lstStyle/>
        <a:p>
          <a:pPr rtl="0"/>
          <a:r>
            <a:rPr lang="en-US" sz="1600" dirty="0" smtClean="0">
              <a:latin typeface="Arial" panose="020B0604020202020204" pitchFamily="34" charset="0"/>
              <a:cs typeface="Arial" panose="020B0604020202020204" pitchFamily="34" charset="0"/>
            </a:rPr>
            <a:t>IIF also coordinate advocacy activities with Government bodies &amp; nodal agencies. </a:t>
          </a:r>
          <a:endParaRPr lang="en-US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A3B314-AA1C-4440-A721-C45732336DE4}" type="parTrans" cxnId="{287B2CD6-4D75-4272-BB5D-2BD3A417D303}">
      <dgm:prSet/>
      <dgm:spPr/>
      <dgm:t>
        <a:bodyPr/>
        <a:lstStyle/>
        <a:p>
          <a:endParaRPr lang="en-US"/>
        </a:p>
      </dgm:t>
    </dgm:pt>
    <dgm:pt modelId="{D28097F7-52E5-4860-89F2-7DFAAA2F9BB9}" type="sibTrans" cxnId="{287B2CD6-4D75-4272-BB5D-2BD3A417D303}">
      <dgm:prSet/>
      <dgm:spPr/>
      <dgm:t>
        <a:bodyPr/>
        <a:lstStyle/>
        <a:p>
          <a:endParaRPr lang="en-US"/>
        </a:p>
      </dgm:t>
    </dgm:pt>
    <dgm:pt modelId="{ED49FED6-DA73-462F-A6F2-60C64BD73C20}">
      <dgm:prSet custT="1"/>
      <dgm:spPr/>
      <dgm:t>
        <a:bodyPr/>
        <a:lstStyle/>
        <a:p>
          <a:pPr rtl="0"/>
          <a:r>
            <a:rPr lang="en-US" sz="1600" dirty="0" smtClean="0">
              <a:latin typeface="Arial" panose="020B0604020202020204" pitchFamily="34" charset="0"/>
              <a:cs typeface="Arial" panose="020B0604020202020204" pitchFamily="34" charset="0"/>
            </a:rPr>
            <a:t>IIF is represented by reputed companies making modern insulation materials used for energy efficiency in Buildings.</a:t>
          </a:r>
          <a:endParaRPr lang="en-US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55CABC6-AE4F-4756-8C4C-A2863CB3EF25}" type="parTrans" cxnId="{B18C1770-C41C-468A-8942-B5A3683F932B}">
      <dgm:prSet/>
      <dgm:spPr/>
      <dgm:t>
        <a:bodyPr/>
        <a:lstStyle/>
        <a:p>
          <a:endParaRPr lang="en-US"/>
        </a:p>
      </dgm:t>
    </dgm:pt>
    <dgm:pt modelId="{8C9CE5B4-B38A-471B-B9BF-A5FA4C6A8906}" type="sibTrans" cxnId="{B18C1770-C41C-468A-8942-B5A3683F932B}">
      <dgm:prSet/>
      <dgm:spPr/>
      <dgm:t>
        <a:bodyPr/>
        <a:lstStyle/>
        <a:p>
          <a:endParaRPr lang="en-US"/>
        </a:p>
      </dgm:t>
    </dgm:pt>
    <dgm:pt modelId="{1FFD55F0-E78B-42AA-969D-8C0295686B36}">
      <dgm:prSet custT="1"/>
      <dgm:spPr/>
      <dgm:t>
        <a:bodyPr/>
        <a:lstStyle/>
        <a:p>
          <a:pPr rtl="0"/>
          <a:r>
            <a:rPr lang="en-US" sz="1600" dirty="0" smtClean="0">
              <a:latin typeface="Arial" panose="020B0604020202020204" pitchFamily="34" charset="0"/>
              <a:cs typeface="Arial" panose="020B0604020202020204" pitchFamily="34" charset="0"/>
            </a:rPr>
            <a:t>The IIF membership is open to all concerned with building insulation, beginning with raw material suppliers, applicators, builders &amp; contractors, architects, regulators &amp; consumers.</a:t>
          </a:r>
          <a:endParaRPr lang="en-US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F4DCC3A-9046-4CBD-A39D-4B29CCC69C78}" type="parTrans" cxnId="{6335915D-574A-41C1-84BF-752A63F58BC7}">
      <dgm:prSet/>
      <dgm:spPr/>
      <dgm:t>
        <a:bodyPr/>
        <a:lstStyle/>
        <a:p>
          <a:endParaRPr lang="en-US"/>
        </a:p>
      </dgm:t>
    </dgm:pt>
    <dgm:pt modelId="{6250B674-E18A-4489-A32E-DCAC53CCB352}" type="sibTrans" cxnId="{6335915D-574A-41C1-84BF-752A63F58BC7}">
      <dgm:prSet/>
      <dgm:spPr/>
      <dgm:t>
        <a:bodyPr/>
        <a:lstStyle/>
        <a:p>
          <a:endParaRPr lang="en-US"/>
        </a:p>
      </dgm:t>
    </dgm:pt>
    <dgm:pt modelId="{A0E420DB-D0FD-4296-A212-4885D6A8C282}">
      <dgm:prSet custT="1"/>
      <dgm:spPr/>
      <dgm:t>
        <a:bodyPr/>
        <a:lstStyle/>
        <a:p>
          <a:pPr rtl="0"/>
          <a:r>
            <a:rPr lang="en-US" sz="1600" dirty="0" smtClean="0">
              <a:latin typeface="Arial" panose="020B0604020202020204" pitchFamily="34" charset="0"/>
              <a:cs typeface="Arial" panose="020B0604020202020204" pitchFamily="34" charset="0"/>
            </a:rPr>
            <a:t>The objective of IIF is to enhance awareness of using thermal insulation in building envelope and cold chain industry for energy conservation.</a:t>
          </a:r>
          <a:endParaRPr lang="en-US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64EA2F7-99A6-4370-A17A-1F0079F100DD}" type="parTrans" cxnId="{BE46A6CD-DBD7-4B29-B04B-7B64EAD5178C}">
      <dgm:prSet/>
      <dgm:spPr/>
      <dgm:t>
        <a:bodyPr/>
        <a:lstStyle/>
        <a:p>
          <a:endParaRPr lang="en-US"/>
        </a:p>
      </dgm:t>
    </dgm:pt>
    <dgm:pt modelId="{3E7CE93B-1042-4581-97BD-5A433FBE42D1}" type="sibTrans" cxnId="{BE46A6CD-DBD7-4B29-B04B-7B64EAD5178C}">
      <dgm:prSet/>
      <dgm:spPr/>
      <dgm:t>
        <a:bodyPr/>
        <a:lstStyle/>
        <a:p>
          <a:endParaRPr lang="en-US"/>
        </a:p>
      </dgm:t>
    </dgm:pt>
    <dgm:pt modelId="{94B97980-D6ED-424B-A90F-9986E8FAF0BE}" type="pres">
      <dgm:prSet presAssocID="{B4249864-C635-42BE-B0D8-22693B0E8147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CCB9FDE2-9F58-4F1E-890E-93D91EF61022}" type="pres">
      <dgm:prSet presAssocID="{CCAEFDDA-3D1B-4276-80DC-4462DE7A77F1}" presName="thickLine" presStyleLbl="alignNode1" presStyleIdx="0" presStyleCnt="5"/>
      <dgm:spPr/>
    </dgm:pt>
    <dgm:pt modelId="{C6A494E6-C2BE-476B-BF39-133099441D69}" type="pres">
      <dgm:prSet presAssocID="{CCAEFDDA-3D1B-4276-80DC-4462DE7A77F1}" presName="horz1" presStyleCnt="0"/>
      <dgm:spPr/>
    </dgm:pt>
    <dgm:pt modelId="{7C5DC5A0-EAF1-4E27-BC25-5B0FFD449B01}" type="pres">
      <dgm:prSet presAssocID="{CCAEFDDA-3D1B-4276-80DC-4462DE7A77F1}" presName="tx1" presStyleLbl="revTx" presStyleIdx="0" presStyleCnt="5"/>
      <dgm:spPr/>
      <dgm:t>
        <a:bodyPr/>
        <a:lstStyle/>
        <a:p>
          <a:endParaRPr lang="en-US"/>
        </a:p>
      </dgm:t>
    </dgm:pt>
    <dgm:pt modelId="{3A6ADC84-D4ED-4A6D-8FB2-3CDC8F2191BB}" type="pres">
      <dgm:prSet presAssocID="{CCAEFDDA-3D1B-4276-80DC-4462DE7A77F1}" presName="vert1" presStyleCnt="0"/>
      <dgm:spPr/>
    </dgm:pt>
    <dgm:pt modelId="{15061ADE-652A-4B56-AA3D-C7E868AA11D8}" type="pres">
      <dgm:prSet presAssocID="{A0E420DB-D0FD-4296-A212-4885D6A8C282}" presName="thickLine" presStyleLbl="alignNode1" presStyleIdx="1" presStyleCnt="5"/>
      <dgm:spPr/>
    </dgm:pt>
    <dgm:pt modelId="{277F1755-A0B3-4131-AF8E-301E380CE4DF}" type="pres">
      <dgm:prSet presAssocID="{A0E420DB-D0FD-4296-A212-4885D6A8C282}" presName="horz1" presStyleCnt="0"/>
      <dgm:spPr/>
    </dgm:pt>
    <dgm:pt modelId="{105C93F4-3CA4-4FC7-B3AC-ECC4B9FFE69A}" type="pres">
      <dgm:prSet presAssocID="{A0E420DB-D0FD-4296-A212-4885D6A8C282}" presName="tx1" presStyleLbl="revTx" presStyleIdx="1" presStyleCnt="5"/>
      <dgm:spPr/>
      <dgm:t>
        <a:bodyPr/>
        <a:lstStyle/>
        <a:p>
          <a:endParaRPr lang="en-US"/>
        </a:p>
      </dgm:t>
    </dgm:pt>
    <dgm:pt modelId="{2EF7978C-F8D7-45EF-B2B4-DBBAA0E96B64}" type="pres">
      <dgm:prSet presAssocID="{A0E420DB-D0FD-4296-A212-4885D6A8C282}" presName="vert1" presStyleCnt="0"/>
      <dgm:spPr/>
    </dgm:pt>
    <dgm:pt modelId="{93DC4F69-84A2-4195-BBA8-007F9C5D219B}" type="pres">
      <dgm:prSet presAssocID="{F22D994E-30E9-4A58-908B-2C00D3225E5C}" presName="thickLine" presStyleLbl="alignNode1" presStyleIdx="2" presStyleCnt="5"/>
      <dgm:spPr/>
    </dgm:pt>
    <dgm:pt modelId="{5BFFE0B6-7A83-4981-B6CC-83B1A539B8C2}" type="pres">
      <dgm:prSet presAssocID="{F22D994E-30E9-4A58-908B-2C00D3225E5C}" presName="horz1" presStyleCnt="0"/>
      <dgm:spPr/>
    </dgm:pt>
    <dgm:pt modelId="{489A557E-495A-4A28-B971-D47ED6F0E1A4}" type="pres">
      <dgm:prSet presAssocID="{F22D994E-30E9-4A58-908B-2C00D3225E5C}" presName="tx1" presStyleLbl="revTx" presStyleIdx="2" presStyleCnt="5"/>
      <dgm:spPr/>
      <dgm:t>
        <a:bodyPr/>
        <a:lstStyle/>
        <a:p>
          <a:endParaRPr lang="en-US"/>
        </a:p>
      </dgm:t>
    </dgm:pt>
    <dgm:pt modelId="{DF2C4480-B829-4A4D-A778-C010CC725DE2}" type="pres">
      <dgm:prSet presAssocID="{F22D994E-30E9-4A58-908B-2C00D3225E5C}" presName="vert1" presStyleCnt="0"/>
      <dgm:spPr/>
    </dgm:pt>
    <dgm:pt modelId="{C206A61E-C275-4547-8F53-E892198650E5}" type="pres">
      <dgm:prSet presAssocID="{ED49FED6-DA73-462F-A6F2-60C64BD73C20}" presName="thickLine" presStyleLbl="alignNode1" presStyleIdx="3" presStyleCnt="5"/>
      <dgm:spPr/>
    </dgm:pt>
    <dgm:pt modelId="{10DEEEE5-9ECE-4A9C-A024-2D2AD89CD943}" type="pres">
      <dgm:prSet presAssocID="{ED49FED6-DA73-462F-A6F2-60C64BD73C20}" presName="horz1" presStyleCnt="0"/>
      <dgm:spPr/>
    </dgm:pt>
    <dgm:pt modelId="{AE70575C-1800-4920-9B94-961BE62F4524}" type="pres">
      <dgm:prSet presAssocID="{ED49FED6-DA73-462F-A6F2-60C64BD73C20}" presName="tx1" presStyleLbl="revTx" presStyleIdx="3" presStyleCnt="5" custLinFactNeighborY="-3322"/>
      <dgm:spPr/>
      <dgm:t>
        <a:bodyPr/>
        <a:lstStyle/>
        <a:p>
          <a:endParaRPr lang="en-US"/>
        </a:p>
      </dgm:t>
    </dgm:pt>
    <dgm:pt modelId="{7580DB04-92F6-460E-8DA6-47B6BE1E58B1}" type="pres">
      <dgm:prSet presAssocID="{ED49FED6-DA73-462F-A6F2-60C64BD73C20}" presName="vert1" presStyleCnt="0"/>
      <dgm:spPr/>
    </dgm:pt>
    <dgm:pt modelId="{7A37FBCE-D10C-4D95-9F90-A35FBC11879D}" type="pres">
      <dgm:prSet presAssocID="{1FFD55F0-E78B-42AA-969D-8C0295686B36}" presName="thickLine" presStyleLbl="alignNode1" presStyleIdx="4" presStyleCnt="5"/>
      <dgm:spPr/>
    </dgm:pt>
    <dgm:pt modelId="{49F2EAA2-3544-4D5D-A088-937FC9FA15CC}" type="pres">
      <dgm:prSet presAssocID="{1FFD55F0-E78B-42AA-969D-8C0295686B36}" presName="horz1" presStyleCnt="0"/>
      <dgm:spPr/>
    </dgm:pt>
    <dgm:pt modelId="{DA0159BC-22F1-4DA2-B988-FFFF7ACD447D}" type="pres">
      <dgm:prSet presAssocID="{1FFD55F0-E78B-42AA-969D-8C0295686B36}" presName="tx1" presStyleLbl="revTx" presStyleIdx="4" presStyleCnt="5" custLinFactNeighborY="1704"/>
      <dgm:spPr/>
      <dgm:t>
        <a:bodyPr/>
        <a:lstStyle/>
        <a:p>
          <a:endParaRPr lang="en-US"/>
        </a:p>
      </dgm:t>
    </dgm:pt>
    <dgm:pt modelId="{0292FA35-7A71-4D43-88C1-D2862067705A}" type="pres">
      <dgm:prSet presAssocID="{1FFD55F0-E78B-42AA-969D-8C0295686B36}" presName="vert1" presStyleCnt="0"/>
      <dgm:spPr/>
    </dgm:pt>
  </dgm:ptLst>
  <dgm:cxnLst>
    <dgm:cxn modelId="{32C1BE10-1F06-409A-8516-6E53799A2E75}" type="presOf" srcId="{1FFD55F0-E78B-42AA-969D-8C0295686B36}" destId="{DA0159BC-22F1-4DA2-B988-FFFF7ACD447D}" srcOrd="0" destOrd="0" presId="urn:microsoft.com/office/officeart/2008/layout/LinedList"/>
    <dgm:cxn modelId="{BE46A6CD-DBD7-4B29-B04B-7B64EAD5178C}" srcId="{B4249864-C635-42BE-B0D8-22693B0E8147}" destId="{A0E420DB-D0FD-4296-A212-4885D6A8C282}" srcOrd="1" destOrd="0" parTransId="{B64EA2F7-99A6-4370-A17A-1F0079F100DD}" sibTransId="{3E7CE93B-1042-4581-97BD-5A433FBE42D1}"/>
    <dgm:cxn modelId="{C12B17B8-B904-4D7A-A79B-26D09038E89D}" type="presOf" srcId="{F22D994E-30E9-4A58-908B-2C00D3225E5C}" destId="{489A557E-495A-4A28-B971-D47ED6F0E1A4}" srcOrd="0" destOrd="0" presId="urn:microsoft.com/office/officeart/2008/layout/LinedList"/>
    <dgm:cxn modelId="{6F81D5D2-9B5C-4040-AEA1-8BC590DE78AB}" type="presOf" srcId="{B4249864-C635-42BE-B0D8-22693B0E8147}" destId="{94B97980-D6ED-424B-A90F-9986E8FAF0BE}" srcOrd="0" destOrd="0" presId="urn:microsoft.com/office/officeart/2008/layout/LinedList"/>
    <dgm:cxn modelId="{3ED58EF7-F559-4312-B358-BA8509338033}" type="presOf" srcId="{A0E420DB-D0FD-4296-A212-4885D6A8C282}" destId="{105C93F4-3CA4-4FC7-B3AC-ECC4B9FFE69A}" srcOrd="0" destOrd="0" presId="urn:microsoft.com/office/officeart/2008/layout/LinedList"/>
    <dgm:cxn modelId="{6AD7AEE8-6592-40CB-9B0A-6147A55860C8}" type="presOf" srcId="{CCAEFDDA-3D1B-4276-80DC-4462DE7A77F1}" destId="{7C5DC5A0-EAF1-4E27-BC25-5B0FFD449B01}" srcOrd="0" destOrd="0" presId="urn:microsoft.com/office/officeart/2008/layout/LinedList"/>
    <dgm:cxn modelId="{A925BAE3-F155-457F-90F2-EF42EA1D2AB9}" srcId="{B4249864-C635-42BE-B0D8-22693B0E8147}" destId="{CCAEFDDA-3D1B-4276-80DC-4462DE7A77F1}" srcOrd="0" destOrd="0" parTransId="{A64FC2A3-6F23-4652-B450-5A4A3226E65A}" sibTransId="{353415FC-B639-4C2F-87DA-ABD597A84EFC}"/>
    <dgm:cxn modelId="{B18C1770-C41C-468A-8942-B5A3683F932B}" srcId="{B4249864-C635-42BE-B0D8-22693B0E8147}" destId="{ED49FED6-DA73-462F-A6F2-60C64BD73C20}" srcOrd="3" destOrd="0" parTransId="{155CABC6-AE4F-4756-8C4C-A2863CB3EF25}" sibTransId="{8C9CE5B4-B38A-471B-B9BF-A5FA4C6A8906}"/>
    <dgm:cxn modelId="{68F33AB0-96E6-4EFD-8DAE-868DC66EB810}" type="presOf" srcId="{ED49FED6-DA73-462F-A6F2-60C64BD73C20}" destId="{AE70575C-1800-4920-9B94-961BE62F4524}" srcOrd="0" destOrd="0" presId="urn:microsoft.com/office/officeart/2008/layout/LinedList"/>
    <dgm:cxn modelId="{6335915D-574A-41C1-84BF-752A63F58BC7}" srcId="{B4249864-C635-42BE-B0D8-22693B0E8147}" destId="{1FFD55F0-E78B-42AA-969D-8C0295686B36}" srcOrd="4" destOrd="0" parTransId="{1F4DCC3A-9046-4CBD-A39D-4B29CCC69C78}" sibTransId="{6250B674-E18A-4489-A32E-DCAC53CCB352}"/>
    <dgm:cxn modelId="{287B2CD6-4D75-4272-BB5D-2BD3A417D303}" srcId="{B4249864-C635-42BE-B0D8-22693B0E8147}" destId="{F22D994E-30E9-4A58-908B-2C00D3225E5C}" srcOrd="2" destOrd="0" parTransId="{FFA3B314-AA1C-4440-A721-C45732336DE4}" sibTransId="{D28097F7-52E5-4860-89F2-7DFAAA2F9BB9}"/>
    <dgm:cxn modelId="{AC2B4483-84DF-4C7B-ABC7-56CEEA8A5271}" type="presParOf" srcId="{94B97980-D6ED-424B-A90F-9986E8FAF0BE}" destId="{CCB9FDE2-9F58-4F1E-890E-93D91EF61022}" srcOrd="0" destOrd="0" presId="urn:microsoft.com/office/officeart/2008/layout/LinedList"/>
    <dgm:cxn modelId="{7C7EFE7E-AA3F-4A5E-BC8F-EE9C7EF3A2A0}" type="presParOf" srcId="{94B97980-D6ED-424B-A90F-9986E8FAF0BE}" destId="{C6A494E6-C2BE-476B-BF39-133099441D69}" srcOrd="1" destOrd="0" presId="urn:microsoft.com/office/officeart/2008/layout/LinedList"/>
    <dgm:cxn modelId="{BAC7CD95-17DF-444F-8EFA-E301A7724D9C}" type="presParOf" srcId="{C6A494E6-C2BE-476B-BF39-133099441D69}" destId="{7C5DC5A0-EAF1-4E27-BC25-5B0FFD449B01}" srcOrd="0" destOrd="0" presId="urn:microsoft.com/office/officeart/2008/layout/LinedList"/>
    <dgm:cxn modelId="{74384AEE-5DF0-40B2-A877-8C27EED4CAEA}" type="presParOf" srcId="{C6A494E6-C2BE-476B-BF39-133099441D69}" destId="{3A6ADC84-D4ED-4A6D-8FB2-3CDC8F2191BB}" srcOrd="1" destOrd="0" presId="urn:microsoft.com/office/officeart/2008/layout/LinedList"/>
    <dgm:cxn modelId="{B3D56EF7-6962-4A46-A4F8-66F37CD10A46}" type="presParOf" srcId="{94B97980-D6ED-424B-A90F-9986E8FAF0BE}" destId="{15061ADE-652A-4B56-AA3D-C7E868AA11D8}" srcOrd="2" destOrd="0" presId="urn:microsoft.com/office/officeart/2008/layout/LinedList"/>
    <dgm:cxn modelId="{9EA18CA5-7F57-4938-A644-7BA923B8B15E}" type="presParOf" srcId="{94B97980-D6ED-424B-A90F-9986E8FAF0BE}" destId="{277F1755-A0B3-4131-AF8E-301E380CE4DF}" srcOrd="3" destOrd="0" presId="urn:microsoft.com/office/officeart/2008/layout/LinedList"/>
    <dgm:cxn modelId="{EC63D125-B95C-4995-837F-7D17B6F8EFA2}" type="presParOf" srcId="{277F1755-A0B3-4131-AF8E-301E380CE4DF}" destId="{105C93F4-3CA4-4FC7-B3AC-ECC4B9FFE69A}" srcOrd="0" destOrd="0" presId="urn:microsoft.com/office/officeart/2008/layout/LinedList"/>
    <dgm:cxn modelId="{B21DB807-A17C-487E-96DE-D9A327370F51}" type="presParOf" srcId="{277F1755-A0B3-4131-AF8E-301E380CE4DF}" destId="{2EF7978C-F8D7-45EF-B2B4-DBBAA0E96B64}" srcOrd="1" destOrd="0" presId="urn:microsoft.com/office/officeart/2008/layout/LinedList"/>
    <dgm:cxn modelId="{0A42EDD0-4BE6-438A-A6F4-98CB50979F21}" type="presParOf" srcId="{94B97980-D6ED-424B-A90F-9986E8FAF0BE}" destId="{93DC4F69-84A2-4195-BBA8-007F9C5D219B}" srcOrd="4" destOrd="0" presId="urn:microsoft.com/office/officeart/2008/layout/LinedList"/>
    <dgm:cxn modelId="{200E76F8-912B-46DB-8BC9-96FD84B90638}" type="presParOf" srcId="{94B97980-D6ED-424B-A90F-9986E8FAF0BE}" destId="{5BFFE0B6-7A83-4981-B6CC-83B1A539B8C2}" srcOrd="5" destOrd="0" presId="urn:microsoft.com/office/officeart/2008/layout/LinedList"/>
    <dgm:cxn modelId="{E66F3264-1DB3-43A0-87C1-BDB73BBA1E59}" type="presParOf" srcId="{5BFFE0B6-7A83-4981-B6CC-83B1A539B8C2}" destId="{489A557E-495A-4A28-B971-D47ED6F0E1A4}" srcOrd="0" destOrd="0" presId="urn:microsoft.com/office/officeart/2008/layout/LinedList"/>
    <dgm:cxn modelId="{1D35B0D5-E767-4E66-AC12-39BCE76A24F7}" type="presParOf" srcId="{5BFFE0B6-7A83-4981-B6CC-83B1A539B8C2}" destId="{DF2C4480-B829-4A4D-A778-C010CC725DE2}" srcOrd="1" destOrd="0" presId="urn:microsoft.com/office/officeart/2008/layout/LinedList"/>
    <dgm:cxn modelId="{5E4FD528-E02A-4FC0-96C3-8E3E1797ECCA}" type="presParOf" srcId="{94B97980-D6ED-424B-A90F-9986E8FAF0BE}" destId="{C206A61E-C275-4547-8F53-E892198650E5}" srcOrd="6" destOrd="0" presId="urn:microsoft.com/office/officeart/2008/layout/LinedList"/>
    <dgm:cxn modelId="{BC5B2D09-BEC2-44EC-B298-AC50E43E04E8}" type="presParOf" srcId="{94B97980-D6ED-424B-A90F-9986E8FAF0BE}" destId="{10DEEEE5-9ECE-4A9C-A024-2D2AD89CD943}" srcOrd="7" destOrd="0" presId="urn:microsoft.com/office/officeart/2008/layout/LinedList"/>
    <dgm:cxn modelId="{1D657309-0B6B-4F17-8BB2-D5E048685F61}" type="presParOf" srcId="{10DEEEE5-9ECE-4A9C-A024-2D2AD89CD943}" destId="{AE70575C-1800-4920-9B94-961BE62F4524}" srcOrd="0" destOrd="0" presId="urn:microsoft.com/office/officeart/2008/layout/LinedList"/>
    <dgm:cxn modelId="{26E3287E-A248-4CDC-BF70-7A5F99D30377}" type="presParOf" srcId="{10DEEEE5-9ECE-4A9C-A024-2D2AD89CD943}" destId="{7580DB04-92F6-460E-8DA6-47B6BE1E58B1}" srcOrd="1" destOrd="0" presId="urn:microsoft.com/office/officeart/2008/layout/LinedList"/>
    <dgm:cxn modelId="{E0B82006-16FC-42BE-B690-07A1019CF14C}" type="presParOf" srcId="{94B97980-D6ED-424B-A90F-9986E8FAF0BE}" destId="{7A37FBCE-D10C-4D95-9F90-A35FBC11879D}" srcOrd="8" destOrd="0" presId="urn:microsoft.com/office/officeart/2008/layout/LinedList"/>
    <dgm:cxn modelId="{712F7AB0-609B-416C-BC58-A40D36005D2D}" type="presParOf" srcId="{94B97980-D6ED-424B-A90F-9986E8FAF0BE}" destId="{49F2EAA2-3544-4D5D-A088-937FC9FA15CC}" srcOrd="9" destOrd="0" presId="urn:microsoft.com/office/officeart/2008/layout/LinedList"/>
    <dgm:cxn modelId="{E1F20143-7812-4823-99FD-76CFF5494318}" type="presParOf" srcId="{49F2EAA2-3544-4D5D-A088-937FC9FA15CC}" destId="{DA0159BC-22F1-4DA2-B988-FFFF7ACD447D}" srcOrd="0" destOrd="0" presId="urn:microsoft.com/office/officeart/2008/layout/LinedList"/>
    <dgm:cxn modelId="{4396C646-2CAC-4CAF-A306-8A9D2BAC1846}" type="presParOf" srcId="{49F2EAA2-3544-4D5D-A088-937FC9FA15CC}" destId="{0292FA35-7A71-4D43-88C1-D2862067705A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F5691FC-7C64-4376-B940-603293BBEEF5}" type="doc">
      <dgm:prSet loTypeId="urn:microsoft.com/office/officeart/2005/8/layout/bList2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5109531-BB12-4A40-8E77-DDC8B993C394}">
      <dgm:prSet custT="1"/>
      <dgm:spPr/>
      <dgm:t>
        <a:bodyPr/>
        <a:lstStyle/>
        <a:p>
          <a:pPr rtl="0"/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Environmental</a:t>
          </a:r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1271281-3816-4CA7-A0E4-15F5D39F65E8}" type="parTrans" cxnId="{A4ADB71D-83F4-40E0-9012-244532314FB2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A7BF931-CA47-4353-A0A4-C0B666490ED1}" type="sibTrans" cxnId="{A4ADB71D-83F4-40E0-9012-244532314FB2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810E140-7DCD-4A61-A744-6D165FB456B9}">
      <dgm:prSet custT="1"/>
      <dgm:spPr/>
      <dgm:t>
        <a:bodyPr/>
        <a:lstStyle/>
        <a:p>
          <a:pPr rtl="0"/>
          <a:r>
            <a:rPr lang="en-US" sz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top heat / cold ingress from outside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5990668-1B2D-43D1-9CEC-2F33F6FCF68B}" type="parTrans" cxnId="{2E017816-123C-4CB5-90F1-84587EA1CD95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A24DE7E-53D1-4C1D-A65D-4A1F586BA914}" type="sibTrans" cxnId="{2E017816-123C-4CB5-90F1-84587EA1CD95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F978441-CDC3-4B1D-BD5A-C8125693DF9C}">
      <dgm:prSet custT="1"/>
      <dgm:spPr/>
      <dgm:t>
        <a:bodyPr/>
        <a:lstStyle/>
        <a:p>
          <a:pPr rtl="0"/>
          <a:r>
            <a:rPr lang="en-US" sz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aves on fossil fuel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B8FA49E-EB16-4FDF-8E14-B18E7A8088BE}" type="parTrans" cxnId="{A2DA1CAA-1013-4D0F-8108-867EFDB68998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5B00EDA-635C-4880-989C-538446585636}" type="sibTrans" cxnId="{A2DA1CAA-1013-4D0F-8108-867EFDB68998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E0934D-78CE-4816-B73E-4122A60F19C7}">
      <dgm:prSet custT="1"/>
      <dgm:spPr/>
      <dgm:t>
        <a:bodyPr/>
        <a:lstStyle/>
        <a:p>
          <a:pPr rtl="0"/>
          <a:r>
            <a:rPr lang="en-US" sz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Lower energy losses; avoid the danger of oversized heating or cooling systems that works  hard to compensate for the heat or cold losses through the building envelope.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3A7BE2C-B3D8-494B-B3A6-91182327DFC8}" type="parTrans" cxnId="{04AE4F74-B96E-439E-AB8C-DF2B0E4454B7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E17DC1F-38CB-485C-BEFB-EBB1151827CF}" type="sibTrans" cxnId="{04AE4F74-B96E-439E-AB8C-DF2B0E4454B7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7D8A167-459B-47B9-8CEB-4E02C45EA01B}">
      <dgm:prSet custT="1"/>
      <dgm:spPr/>
      <dgm:t>
        <a:bodyPr/>
        <a:lstStyle/>
        <a:p>
          <a:pPr rtl="0"/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Economical</a:t>
          </a:r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E8E0683-D19C-4A0B-B8B5-04B7F90BD5B6}" type="parTrans" cxnId="{4D6E199A-208E-4457-A467-55E44BA4583E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5EBD4A-C9E5-4D15-AFCE-D886A22D0481}" type="sibTrans" cxnId="{4D6E199A-208E-4457-A467-55E44BA4583E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9E50D24-012C-46BA-980D-26758A779147}">
      <dgm:prSet custT="1"/>
      <dgm:spPr/>
      <dgm:t>
        <a:bodyPr/>
        <a:lstStyle/>
        <a:p>
          <a:pPr rtl="0"/>
          <a:r>
            <a:rPr lang="en-US" sz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Effective insulation lowers heating or cooling bills, thus no longer being affected by rising energy costs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8F43D5B-E8E0-4811-A5FC-F5F6B24E94FE}" type="parTrans" cxnId="{4AF68EE5-4DFE-413B-804E-63CFC09E89BA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292F7ED-8541-4E3C-BCD9-FF6812EAFF2F}" type="sibTrans" cxnId="{4AF68EE5-4DFE-413B-804E-63CFC09E89BA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C707A6F-588C-4179-AA55-91E79FF38086}">
      <dgm:prSet custT="1"/>
      <dgm:spPr/>
      <dgm:t>
        <a:bodyPr/>
        <a:lstStyle/>
        <a:p>
          <a:pPr rtl="0"/>
          <a:r>
            <a:rPr lang="en-US" sz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intains controlled temp. for longer periods.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A34748-2C8A-4628-A92D-FB28F443BD93}" type="parTrans" cxnId="{EFB10845-77DB-4736-BA6C-2B9947A15E62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275F324-9B6F-4FDE-939E-E7FCC7313E9D}" type="sibTrans" cxnId="{EFB10845-77DB-4736-BA6C-2B9947A15E62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33D75E8-D696-45BB-8E4B-F222800FF9AB}">
      <dgm:prSet custT="1"/>
      <dgm:spPr/>
      <dgm:t>
        <a:bodyPr/>
        <a:lstStyle/>
        <a:p>
          <a:pPr rtl="0"/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Social </a:t>
          </a:r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E5072BD-70D6-4493-AEA0-252B7926B229}" type="parTrans" cxnId="{7EAE3F50-4853-4173-A3E1-93CAF605358B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BEEBD56-6BF6-4AF3-8B8B-AAC8CD297FFF}" type="sibTrans" cxnId="{7EAE3F50-4853-4173-A3E1-93CAF605358B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330D656-8FAB-4B85-9C30-44B9ACABAF35}">
      <dgm:prSet custT="1"/>
      <dgm:spPr/>
      <dgm:t>
        <a:bodyPr/>
        <a:lstStyle/>
        <a:p>
          <a:pPr rtl="0"/>
          <a:r>
            <a:rPr lang="en-US" sz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Human Comfort – improves the efficiency of occupier/user.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B7D3FA5-108A-41CE-B0FE-BF00588F01ED}" type="parTrans" cxnId="{F9DC1AE8-56A1-493B-A803-BA159BA17477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8D1F64D-AC76-43B1-8A63-2CE6B7C4F805}" type="sibTrans" cxnId="{F9DC1AE8-56A1-493B-A803-BA159BA17477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C7B731A-1E2F-46AB-A5E5-411E1E37FE5C}">
      <dgm:prSet custT="1"/>
      <dgm:spPr/>
      <dgm:t>
        <a:bodyPr/>
        <a:lstStyle/>
        <a:p>
          <a:pPr rtl="0"/>
          <a:r>
            <a:rPr lang="en-US" sz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ovides fungus-free and microbe-free healthier environ, due to absence of cold walls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A61BAAF-0CD3-4D1F-8D66-F2FA8C5779A2}" type="parTrans" cxnId="{6133A43A-0C3B-4A3F-AF77-C983FA8B0DC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0AC4F3C-5040-4651-B3E1-96EDF50A058B}" type="sibTrans" cxnId="{6133A43A-0C3B-4A3F-AF77-C983FA8B0DC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EA45873-F50C-4102-A6DF-8B0A7CC03134}">
      <dgm:prSet custT="1"/>
      <dgm:spPr/>
      <dgm:t>
        <a:bodyPr/>
        <a:lstStyle/>
        <a:p>
          <a:pPr rtl="0"/>
          <a:r>
            <a:rPr lang="en-US" sz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Reduces emission of GHG.</a:t>
          </a:r>
          <a:endParaRPr lang="en-US" sz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D0CBED9-113E-4C92-8874-0457863BBCC7}" type="parTrans" cxnId="{E6CB6395-8F4D-476C-9AEE-BC3FDA1497D9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E8C232-994E-4E85-9F29-8187E97B776F}" type="sibTrans" cxnId="{E6CB6395-8F4D-476C-9AEE-BC3FDA1497D9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F3147B4-A4F8-4B1A-8DF5-B9389A180043}" type="pres">
      <dgm:prSet presAssocID="{2F5691FC-7C64-4376-B940-603293BBEEF5}" presName="diagram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CFCC074-02C6-4C75-818B-7FC2F779DA65}" type="pres">
      <dgm:prSet presAssocID="{F5109531-BB12-4A40-8E77-DDC8B993C394}" presName="compNode" presStyleCnt="0"/>
      <dgm:spPr/>
    </dgm:pt>
    <dgm:pt modelId="{D11B4F1F-AA92-47E0-A88B-BCE8A7326CA9}" type="pres">
      <dgm:prSet presAssocID="{F5109531-BB12-4A40-8E77-DDC8B993C394}" presName="childRect" presStyleLbl="bgAcc1" presStyleIdx="0" presStyleCnt="3" custScaleX="110678" custScaleY="124539" custLinFactNeighborY="-1253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68E2C5-0A1C-4A04-B3CF-02BE3585F4C9}" type="pres">
      <dgm:prSet presAssocID="{F5109531-BB12-4A40-8E77-DDC8B993C394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1C7337-A283-4CB7-A096-725ADDD5B463}" type="pres">
      <dgm:prSet presAssocID="{F5109531-BB12-4A40-8E77-DDC8B993C394}" presName="parentRect" presStyleLbl="alignNode1" presStyleIdx="0" presStyleCnt="3" custScaleX="111439" custScaleY="105236"/>
      <dgm:spPr/>
      <dgm:t>
        <a:bodyPr/>
        <a:lstStyle/>
        <a:p>
          <a:endParaRPr lang="en-US"/>
        </a:p>
      </dgm:t>
    </dgm:pt>
    <dgm:pt modelId="{99BBBC70-A6ED-4832-8FBC-321309E79EE9}" type="pres">
      <dgm:prSet presAssocID="{F5109531-BB12-4A40-8E77-DDC8B993C394}" presName="adorn" presStyleLbl="fgAccFollow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</dgm:spPr>
      <dgm:t>
        <a:bodyPr/>
        <a:lstStyle/>
        <a:p>
          <a:endParaRPr lang="en-US"/>
        </a:p>
      </dgm:t>
    </dgm:pt>
    <dgm:pt modelId="{A1C9709D-4F72-4150-909D-2EB5A9D1F869}" type="pres">
      <dgm:prSet presAssocID="{0A7BF931-CA47-4353-A0A4-C0B666490ED1}" presName="sibTrans" presStyleLbl="sibTrans2D1" presStyleIdx="0" presStyleCnt="0"/>
      <dgm:spPr/>
      <dgm:t>
        <a:bodyPr/>
        <a:lstStyle/>
        <a:p>
          <a:endParaRPr lang="en-US"/>
        </a:p>
      </dgm:t>
    </dgm:pt>
    <dgm:pt modelId="{A053798A-CABB-41A4-985A-F36664105D47}" type="pres">
      <dgm:prSet presAssocID="{A7D8A167-459B-47B9-8CEB-4E02C45EA01B}" presName="compNode" presStyleCnt="0"/>
      <dgm:spPr/>
    </dgm:pt>
    <dgm:pt modelId="{22B2A0C5-6459-4F2A-A443-FCF57BA752E8}" type="pres">
      <dgm:prSet presAssocID="{A7D8A167-459B-47B9-8CEB-4E02C45EA01B}" presName="childRect" presStyleLbl="bgAcc1" presStyleIdx="1" presStyleCnt="3" custScaleY="111830" custLinFactNeighborX="22" custLinFactNeighborY="-28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FD98F8-5CF3-4C11-8C97-1D88C91CE82F}" type="pres">
      <dgm:prSet presAssocID="{A7D8A167-459B-47B9-8CEB-4E02C45EA01B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B3DF27-002D-4754-92E0-5632FAD612C5}" type="pres">
      <dgm:prSet presAssocID="{A7D8A167-459B-47B9-8CEB-4E02C45EA01B}" presName="parentRect" presStyleLbl="alignNode1" presStyleIdx="1" presStyleCnt="3" custScaleX="100805"/>
      <dgm:spPr/>
      <dgm:t>
        <a:bodyPr/>
        <a:lstStyle/>
        <a:p>
          <a:endParaRPr lang="en-US"/>
        </a:p>
      </dgm:t>
    </dgm:pt>
    <dgm:pt modelId="{D6D44A08-34FE-4B9E-A416-FA043AE74905}" type="pres">
      <dgm:prSet presAssocID="{A7D8A167-459B-47B9-8CEB-4E02C45EA01B}" presName="adorn" presStyleLbl="fgAccFollowNod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</dgm:spPr>
      <dgm:t>
        <a:bodyPr/>
        <a:lstStyle/>
        <a:p>
          <a:endParaRPr lang="en-US"/>
        </a:p>
      </dgm:t>
    </dgm:pt>
    <dgm:pt modelId="{E60FAFBF-F7AA-424F-8E84-91AD3CFDA639}" type="pres">
      <dgm:prSet presAssocID="{355EBD4A-C9E5-4D15-AFCE-D886A22D0481}" presName="sibTrans" presStyleLbl="sibTrans2D1" presStyleIdx="0" presStyleCnt="0"/>
      <dgm:spPr/>
      <dgm:t>
        <a:bodyPr/>
        <a:lstStyle/>
        <a:p>
          <a:endParaRPr lang="en-US"/>
        </a:p>
      </dgm:t>
    </dgm:pt>
    <dgm:pt modelId="{0B3DA8D0-6C97-45C3-98D4-27C751BC834A}" type="pres">
      <dgm:prSet presAssocID="{E33D75E8-D696-45BB-8E4B-F222800FF9AB}" presName="compNode" presStyleCnt="0"/>
      <dgm:spPr/>
    </dgm:pt>
    <dgm:pt modelId="{D9DF036C-45B7-4A57-BA15-6AD099CE7F1D}" type="pres">
      <dgm:prSet presAssocID="{E33D75E8-D696-45BB-8E4B-F222800FF9AB}" presName="childRect" presStyleLbl="bgAcc1" presStyleIdx="2" presStyleCnt="3" custScaleY="108822" custLinFactNeighborX="-1827" custLinFactNeighborY="76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1F77A5-4ED3-415E-8358-E2B56F49860D}" type="pres">
      <dgm:prSet presAssocID="{E33D75E8-D696-45BB-8E4B-F222800FF9AB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F0629B-C7D0-4C50-81F1-F43C8C138478}" type="pres">
      <dgm:prSet presAssocID="{E33D75E8-D696-45BB-8E4B-F222800FF9AB}" presName="parentRect" presStyleLbl="alignNode1" presStyleIdx="2" presStyleCnt="3" custScaleX="103637" custLinFactNeighborX="-8" custLinFactNeighborY="2326"/>
      <dgm:spPr/>
      <dgm:t>
        <a:bodyPr/>
        <a:lstStyle/>
        <a:p>
          <a:endParaRPr lang="en-US"/>
        </a:p>
      </dgm:t>
    </dgm:pt>
    <dgm:pt modelId="{C837CD8B-F254-462B-AC54-6915153E214E}" type="pres">
      <dgm:prSet presAssocID="{E33D75E8-D696-45BB-8E4B-F222800FF9AB}" presName="adorn" presStyleLbl="fgAccFollowNod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US"/>
        </a:p>
      </dgm:t>
    </dgm:pt>
  </dgm:ptLst>
  <dgm:cxnLst>
    <dgm:cxn modelId="{0488E989-9617-4DF2-B537-17979CBE52D1}" type="presOf" srcId="{F5109531-BB12-4A40-8E77-DDC8B993C394}" destId="{411C7337-A283-4CB7-A096-725ADDD5B463}" srcOrd="1" destOrd="0" presId="urn:microsoft.com/office/officeart/2005/8/layout/bList2#1"/>
    <dgm:cxn modelId="{C0D5770A-E7CA-47B4-A035-164EF748C88B}" type="presOf" srcId="{89E50D24-012C-46BA-980D-26758A779147}" destId="{22B2A0C5-6459-4F2A-A443-FCF57BA752E8}" srcOrd="0" destOrd="0" presId="urn:microsoft.com/office/officeart/2005/8/layout/bList2#1"/>
    <dgm:cxn modelId="{4AF68EE5-4DFE-413B-804E-63CFC09E89BA}" srcId="{A7D8A167-459B-47B9-8CEB-4E02C45EA01B}" destId="{89E50D24-012C-46BA-980D-26758A779147}" srcOrd="0" destOrd="0" parTransId="{C8F43D5B-E8E0-4811-A5FC-F5F6B24E94FE}" sibTransId="{C292F7ED-8541-4E3C-BCD9-FF6812EAFF2F}"/>
    <dgm:cxn modelId="{04AE4F74-B96E-439E-AB8C-DF2B0E4454B7}" srcId="{F5109531-BB12-4A40-8E77-DDC8B993C394}" destId="{66E0934D-78CE-4816-B73E-4122A60F19C7}" srcOrd="3" destOrd="0" parTransId="{53A7BE2C-B3D8-494B-B3A6-91182327DFC8}" sibTransId="{9E17DC1F-38CB-485C-BEFB-EBB1151827CF}"/>
    <dgm:cxn modelId="{1AD9D840-EE5D-41CD-B0EE-629B2DDECE6E}" type="presOf" srcId="{E33D75E8-D696-45BB-8E4B-F222800FF9AB}" destId="{C3F0629B-C7D0-4C50-81F1-F43C8C138478}" srcOrd="1" destOrd="0" presId="urn:microsoft.com/office/officeart/2005/8/layout/bList2#1"/>
    <dgm:cxn modelId="{0BE3B42C-C1AE-4A36-9F24-65A177B1DF53}" type="presOf" srcId="{3F978441-CDC3-4B1D-BD5A-C8125693DF9C}" destId="{D11B4F1F-AA92-47E0-A88B-BCE8A7326CA9}" srcOrd="0" destOrd="1" presId="urn:microsoft.com/office/officeart/2005/8/layout/bList2#1"/>
    <dgm:cxn modelId="{FDAC90E9-CBFD-4271-9839-D85E377D71ED}" type="presOf" srcId="{A7D8A167-459B-47B9-8CEB-4E02C45EA01B}" destId="{D8FD98F8-5CF3-4C11-8C97-1D88C91CE82F}" srcOrd="0" destOrd="0" presId="urn:microsoft.com/office/officeart/2005/8/layout/bList2#1"/>
    <dgm:cxn modelId="{A4ADB71D-83F4-40E0-9012-244532314FB2}" srcId="{2F5691FC-7C64-4376-B940-603293BBEEF5}" destId="{F5109531-BB12-4A40-8E77-DDC8B993C394}" srcOrd="0" destOrd="0" parTransId="{01271281-3816-4CA7-A0E4-15F5D39F65E8}" sibTransId="{0A7BF931-CA47-4353-A0A4-C0B666490ED1}"/>
    <dgm:cxn modelId="{E6CB6395-8F4D-476C-9AEE-BC3FDA1497D9}" srcId="{F5109531-BB12-4A40-8E77-DDC8B993C394}" destId="{5EA45873-F50C-4102-A6DF-8B0A7CC03134}" srcOrd="2" destOrd="0" parTransId="{9D0CBED9-113E-4C92-8874-0457863BBCC7}" sibTransId="{08E8C232-994E-4E85-9F29-8187E97B776F}"/>
    <dgm:cxn modelId="{EFB10845-77DB-4736-BA6C-2B9947A15E62}" srcId="{A7D8A167-459B-47B9-8CEB-4E02C45EA01B}" destId="{BC707A6F-588C-4179-AA55-91E79FF38086}" srcOrd="1" destOrd="0" parTransId="{CFA34748-2C8A-4628-A92D-FB28F443BD93}" sibTransId="{A275F324-9B6F-4FDE-939E-E7FCC7313E9D}"/>
    <dgm:cxn modelId="{6133A43A-0C3B-4A3F-AF77-C983FA8B0DCC}" srcId="{E33D75E8-D696-45BB-8E4B-F222800FF9AB}" destId="{4C7B731A-1E2F-46AB-A5E5-411E1E37FE5C}" srcOrd="1" destOrd="0" parTransId="{5A61BAAF-0CD3-4D1F-8D66-F2FA8C5779A2}" sibTransId="{80AC4F3C-5040-4651-B3E1-96EDF50A058B}"/>
    <dgm:cxn modelId="{7EAE3F50-4853-4173-A3E1-93CAF605358B}" srcId="{2F5691FC-7C64-4376-B940-603293BBEEF5}" destId="{E33D75E8-D696-45BB-8E4B-F222800FF9AB}" srcOrd="2" destOrd="0" parTransId="{3E5072BD-70D6-4493-AEA0-252B7926B229}" sibTransId="{2BEEBD56-6BF6-4AF3-8B8B-AAC8CD297FFF}"/>
    <dgm:cxn modelId="{4CDE5BD7-C0AA-41F8-BDB5-30AC840DFA09}" type="presOf" srcId="{E33D75E8-D696-45BB-8E4B-F222800FF9AB}" destId="{791F77A5-4ED3-415E-8358-E2B56F49860D}" srcOrd="0" destOrd="0" presId="urn:microsoft.com/office/officeart/2005/8/layout/bList2#1"/>
    <dgm:cxn modelId="{2E017816-123C-4CB5-90F1-84587EA1CD95}" srcId="{F5109531-BB12-4A40-8E77-DDC8B993C394}" destId="{3810E140-7DCD-4A61-A744-6D165FB456B9}" srcOrd="0" destOrd="0" parTransId="{95990668-1B2D-43D1-9CEC-2F33F6FCF68B}" sibTransId="{CA24DE7E-53D1-4C1D-A65D-4A1F586BA914}"/>
    <dgm:cxn modelId="{D1B99586-15A1-40DB-A036-BF3E485F997D}" type="presOf" srcId="{5EA45873-F50C-4102-A6DF-8B0A7CC03134}" destId="{D11B4F1F-AA92-47E0-A88B-BCE8A7326CA9}" srcOrd="0" destOrd="2" presId="urn:microsoft.com/office/officeart/2005/8/layout/bList2#1"/>
    <dgm:cxn modelId="{F9DC1AE8-56A1-493B-A803-BA159BA17477}" srcId="{E33D75E8-D696-45BB-8E4B-F222800FF9AB}" destId="{0330D656-8FAB-4B85-9C30-44B9ACABAF35}" srcOrd="0" destOrd="0" parTransId="{7B7D3FA5-108A-41CE-B0FE-BF00588F01ED}" sibTransId="{58D1F64D-AC76-43B1-8A63-2CE6B7C4F805}"/>
    <dgm:cxn modelId="{EEC46BE5-EDEF-4F9F-850D-8689FC96A15E}" type="presOf" srcId="{A7D8A167-459B-47B9-8CEB-4E02C45EA01B}" destId="{85B3DF27-002D-4754-92E0-5632FAD612C5}" srcOrd="1" destOrd="0" presId="urn:microsoft.com/office/officeart/2005/8/layout/bList2#1"/>
    <dgm:cxn modelId="{D2FDADC3-F72D-41B6-A33E-BE63FB8A2E1E}" type="presOf" srcId="{BC707A6F-588C-4179-AA55-91E79FF38086}" destId="{22B2A0C5-6459-4F2A-A443-FCF57BA752E8}" srcOrd="0" destOrd="1" presId="urn:microsoft.com/office/officeart/2005/8/layout/bList2#1"/>
    <dgm:cxn modelId="{46EA5514-A58C-4AD7-A737-DC2BFE589BB7}" type="presOf" srcId="{0330D656-8FAB-4B85-9C30-44B9ACABAF35}" destId="{D9DF036C-45B7-4A57-BA15-6AD099CE7F1D}" srcOrd="0" destOrd="0" presId="urn:microsoft.com/office/officeart/2005/8/layout/bList2#1"/>
    <dgm:cxn modelId="{9519AF06-7F71-41BC-A4FC-99D5923A0D75}" type="presOf" srcId="{3810E140-7DCD-4A61-A744-6D165FB456B9}" destId="{D11B4F1F-AA92-47E0-A88B-BCE8A7326CA9}" srcOrd="0" destOrd="0" presId="urn:microsoft.com/office/officeart/2005/8/layout/bList2#1"/>
    <dgm:cxn modelId="{4D6E199A-208E-4457-A467-55E44BA4583E}" srcId="{2F5691FC-7C64-4376-B940-603293BBEEF5}" destId="{A7D8A167-459B-47B9-8CEB-4E02C45EA01B}" srcOrd="1" destOrd="0" parTransId="{1E8E0683-D19C-4A0B-B8B5-04B7F90BD5B6}" sibTransId="{355EBD4A-C9E5-4D15-AFCE-D886A22D0481}"/>
    <dgm:cxn modelId="{E6A74170-8B08-4498-9BCF-8026D12962C2}" type="presOf" srcId="{66E0934D-78CE-4816-B73E-4122A60F19C7}" destId="{D11B4F1F-AA92-47E0-A88B-BCE8A7326CA9}" srcOrd="0" destOrd="3" presId="urn:microsoft.com/office/officeart/2005/8/layout/bList2#1"/>
    <dgm:cxn modelId="{4F9354E8-4713-4423-BA30-CE0A60DED118}" type="presOf" srcId="{355EBD4A-C9E5-4D15-AFCE-D886A22D0481}" destId="{E60FAFBF-F7AA-424F-8E84-91AD3CFDA639}" srcOrd="0" destOrd="0" presId="urn:microsoft.com/office/officeart/2005/8/layout/bList2#1"/>
    <dgm:cxn modelId="{026B8554-D90C-4633-8143-5C13735223DB}" type="presOf" srcId="{F5109531-BB12-4A40-8E77-DDC8B993C394}" destId="{3A68E2C5-0A1C-4A04-B3CF-02BE3585F4C9}" srcOrd="0" destOrd="0" presId="urn:microsoft.com/office/officeart/2005/8/layout/bList2#1"/>
    <dgm:cxn modelId="{6C7097F8-2506-4688-9A63-1CB4B26FEBBE}" type="presOf" srcId="{2F5691FC-7C64-4376-B940-603293BBEEF5}" destId="{1F3147B4-A4F8-4B1A-8DF5-B9389A180043}" srcOrd="0" destOrd="0" presId="urn:microsoft.com/office/officeart/2005/8/layout/bList2#1"/>
    <dgm:cxn modelId="{A2DA1CAA-1013-4D0F-8108-867EFDB68998}" srcId="{F5109531-BB12-4A40-8E77-DDC8B993C394}" destId="{3F978441-CDC3-4B1D-BD5A-C8125693DF9C}" srcOrd="1" destOrd="0" parTransId="{6B8FA49E-EB16-4FDF-8E14-B18E7A8088BE}" sibTransId="{65B00EDA-635C-4880-989C-538446585636}"/>
    <dgm:cxn modelId="{22E24EEE-F9C8-4A24-AB86-DBAB397B4528}" type="presOf" srcId="{4C7B731A-1E2F-46AB-A5E5-411E1E37FE5C}" destId="{D9DF036C-45B7-4A57-BA15-6AD099CE7F1D}" srcOrd="0" destOrd="1" presId="urn:microsoft.com/office/officeart/2005/8/layout/bList2#1"/>
    <dgm:cxn modelId="{80B836D1-DBE8-44E8-8F71-405050CF5BC0}" type="presOf" srcId="{0A7BF931-CA47-4353-A0A4-C0B666490ED1}" destId="{A1C9709D-4F72-4150-909D-2EB5A9D1F869}" srcOrd="0" destOrd="0" presId="urn:microsoft.com/office/officeart/2005/8/layout/bList2#1"/>
    <dgm:cxn modelId="{AB955406-D9D7-4222-9B1F-A4253153D36D}" type="presParOf" srcId="{1F3147B4-A4F8-4B1A-8DF5-B9389A180043}" destId="{9CFCC074-02C6-4C75-818B-7FC2F779DA65}" srcOrd="0" destOrd="0" presId="urn:microsoft.com/office/officeart/2005/8/layout/bList2#1"/>
    <dgm:cxn modelId="{0510B0D1-DCF2-4165-A8FD-A7E4BF526552}" type="presParOf" srcId="{9CFCC074-02C6-4C75-818B-7FC2F779DA65}" destId="{D11B4F1F-AA92-47E0-A88B-BCE8A7326CA9}" srcOrd="0" destOrd="0" presId="urn:microsoft.com/office/officeart/2005/8/layout/bList2#1"/>
    <dgm:cxn modelId="{556ED08B-755A-48D3-A499-5C8E66A33703}" type="presParOf" srcId="{9CFCC074-02C6-4C75-818B-7FC2F779DA65}" destId="{3A68E2C5-0A1C-4A04-B3CF-02BE3585F4C9}" srcOrd="1" destOrd="0" presId="urn:microsoft.com/office/officeart/2005/8/layout/bList2#1"/>
    <dgm:cxn modelId="{603C1848-E462-4FAA-B48C-073E53077093}" type="presParOf" srcId="{9CFCC074-02C6-4C75-818B-7FC2F779DA65}" destId="{411C7337-A283-4CB7-A096-725ADDD5B463}" srcOrd="2" destOrd="0" presId="urn:microsoft.com/office/officeart/2005/8/layout/bList2#1"/>
    <dgm:cxn modelId="{820D7EEA-AC86-4058-A534-0E68180F7742}" type="presParOf" srcId="{9CFCC074-02C6-4C75-818B-7FC2F779DA65}" destId="{99BBBC70-A6ED-4832-8FBC-321309E79EE9}" srcOrd="3" destOrd="0" presId="urn:microsoft.com/office/officeart/2005/8/layout/bList2#1"/>
    <dgm:cxn modelId="{F466D973-75DE-4060-813F-80BE37FF772A}" type="presParOf" srcId="{1F3147B4-A4F8-4B1A-8DF5-B9389A180043}" destId="{A1C9709D-4F72-4150-909D-2EB5A9D1F869}" srcOrd="1" destOrd="0" presId="urn:microsoft.com/office/officeart/2005/8/layout/bList2#1"/>
    <dgm:cxn modelId="{7BCCFD43-F943-41E6-989A-834DE94E6419}" type="presParOf" srcId="{1F3147B4-A4F8-4B1A-8DF5-B9389A180043}" destId="{A053798A-CABB-41A4-985A-F36664105D47}" srcOrd="2" destOrd="0" presId="urn:microsoft.com/office/officeart/2005/8/layout/bList2#1"/>
    <dgm:cxn modelId="{B91E31A6-4A75-4BF8-9060-0D894B8DC6A1}" type="presParOf" srcId="{A053798A-CABB-41A4-985A-F36664105D47}" destId="{22B2A0C5-6459-4F2A-A443-FCF57BA752E8}" srcOrd="0" destOrd="0" presId="urn:microsoft.com/office/officeart/2005/8/layout/bList2#1"/>
    <dgm:cxn modelId="{C270250A-A6CE-4C86-A166-A76B91C2669C}" type="presParOf" srcId="{A053798A-CABB-41A4-985A-F36664105D47}" destId="{D8FD98F8-5CF3-4C11-8C97-1D88C91CE82F}" srcOrd="1" destOrd="0" presId="urn:microsoft.com/office/officeart/2005/8/layout/bList2#1"/>
    <dgm:cxn modelId="{D0334CFB-380E-4A54-A476-00CBD1C1F391}" type="presParOf" srcId="{A053798A-CABB-41A4-985A-F36664105D47}" destId="{85B3DF27-002D-4754-92E0-5632FAD612C5}" srcOrd="2" destOrd="0" presId="urn:microsoft.com/office/officeart/2005/8/layout/bList2#1"/>
    <dgm:cxn modelId="{F83F1877-DE9F-4518-ACF4-644C1E049C18}" type="presParOf" srcId="{A053798A-CABB-41A4-985A-F36664105D47}" destId="{D6D44A08-34FE-4B9E-A416-FA043AE74905}" srcOrd="3" destOrd="0" presId="urn:microsoft.com/office/officeart/2005/8/layout/bList2#1"/>
    <dgm:cxn modelId="{C909EB1E-8593-4902-8FF0-9A56D2A03FDB}" type="presParOf" srcId="{1F3147B4-A4F8-4B1A-8DF5-B9389A180043}" destId="{E60FAFBF-F7AA-424F-8E84-91AD3CFDA639}" srcOrd="3" destOrd="0" presId="urn:microsoft.com/office/officeart/2005/8/layout/bList2#1"/>
    <dgm:cxn modelId="{1291DF1B-7ED2-4B9D-BB15-49ED0ECE4385}" type="presParOf" srcId="{1F3147B4-A4F8-4B1A-8DF5-B9389A180043}" destId="{0B3DA8D0-6C97-45C3-98D4-27C751BC834A}" srcOrd="4" destOrd="0" presId="urn:microsoft.com/office/officeart/2005/8/layout/bList2#1"/>
    <dgm:cxn modelId="{51727B9B-5FCA-47F6-9AE2-0AE74E162EB5}" type="presParOf" srcId="{0B3DA8D0-6C97-45C3-98D4-27C751BC834A}" destId="{D9DF036C-45B7-4A57-BA15-6AD099CE7F1D}" srcOrd="0" destOrd="0" presId="urn:microsoft.com/office/officeart/2005/8/layout/bList2#1"/>
    <dgm:cxn modelId="{3928942B-E363-47D7-B9F9-C8090B242B27}" type="presParOf" srcId="{0B3DA8D0-6C97-45C3-98D4-27C751BC834A}" destId="{791F77A5-4ED3-415E-8358-E2B56F49860D}" srcOrd="1" destOrd="0" presId="urn:microsoft.com/office/officeart/2005/8/layout/bList2#1"/>
    <dgm:cxn modelId="{93D745DE-73C3-4494-B174-84EEE51ADE29}" type="presParOf" srcId="{0B3DA8D0-6C97-45C3-98D4-27C751BC834A}" destId="{C3F0629B-C7D0-4C50-81F1-F43C8C138478}" srcOrd="2" destOrd="0" presId="urn:microsoft.com/office/officeart/2005/8/layout/bList2#1"/>
    <dgm:cxn modelId="{BB986FFB-8E39-4AE8-82DD-24159139C69D}" type="presParOf" srcId="{0B3DA8D0-6C97-45C3-98D4-27C751BC834A}" destId="{C837CD8B-F254-462B-AC54-6915153E214E}" srcOrd="3" destOrd="0" presId="urn:microsoft.com/office/officeart/2005/8/layout/bList2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E85184F-F77D-40AD-A0C7-257244B1452A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F386F3A-A063-4A92-BF00-A1800B791CA8}">
      <dgm:prSet phldrT="[Text]" custT="1"/>
      <dgm:spPr/>
      <dgm:t>
        <a:bodyPr/>
        <a:lstStyle/>
        <a:p>
          <a:r>
            <a:rPr lang="en-US" sz="2400" dirty="0" smtClean="0"/>
            <a:t>Committee</a:t>
          </a:r>
          <a:endParaRPr lang="en-US" sz="2400" dirty="0"/>
        </a:p>
      </dgm:t>
    </dgm:pt>
    <dgm:pt modelId="{39487577-8CD0-4DD2-B18C-C7E0C300E26C}" type="parTrans" cxnId="{F795B365-5D1F-47B5-B3AE-4B809341B5FF}">
      <dgm:prSet/>
      <dgm:spPr/>
      <dgm:t>
        <a:bodyPr/>
        <a:lstStyle/>
        <a:p>
          <a:endParaRPr lang="en-US"/>
        </a:p>
      </dgm:t>
    </dgm:pt>
    <dgm:pt modelId="{4D688106-C2BD-4C02-939E-3EEC8063C0E1}" type="sibTrans" cxnId="{F795B365-5D1F-47B5-B3AE-4B809341B5FF}">
      <dgm:prSet/>
      <dgm:spPr/>
      <dgm:t>
        <a:bodyPr/>
        <a:lstStyle/>
        <a:p>
          <a:endParaRPr lang="en-US"/>
        </a:p>
      </dgm:t>
    </dgm:pt>
    <dgm:pt modelId="{1BA8E055-3A85-4781-8C33-D592D774B789}">
      <dgm:prSet phldrT="[Text]" custT="1"/>
      <dgm:spPr/>
      <dgm:t>
        <a:bodyPr/>
        <a:lstStyle/>
        <a:p>
          <a:r>
            <a:rPr lang="en-US" sz="2400" dirty="0" smtClean="0"/>
            <a:t>Delhi Chapter</a:t>
          </a:r>
          <a:endParaRPr lang="en-US" sz="2400" dirty="0"/>
        </a:p>
      </dgm:t>
    </dgm:pt>
    <dgm:pt modelId="{DCB0A28B-F15E-47EA-8200-820D4B4A4883}" type="parTrans" cxnId="{1A3CAE17-F37D-42AE-8DF8-1A2341927BC2}">
      <dgm:prSet/>
      <dgm:spPr/>
      <dgm:t>
        <a:bodyPr/>
        <a:lstStyle/>
        <a:p>
          <a:endParaRPr lang="en-US"/>
        </a:p>
      </dgm:t>
    </dgm:pt>
    <dgm:pt modelId="{B4BAEB18-8454-46CF-A1E6-80681114D4F1}" type="sibTrans" cxnId="{1A3CAE17-F37D-42AE-8DF8-1A2341927BC2}">
      <dgm:prSet/>
      <dgm:spPr/>
      <dgm:t>
        <a:bodyPr/>
        <a:lstStyle/>
        <a:p>
          <a:endParaRPr lang="en-US"/>
        </a:p>
      </dgm:t>
    </dgm:pt>
    <dgm:pt modelId="{6D3FF997-FBC0-40F1-94A8-307602FE7BBC}">
      <dgm:prSet phldrT="[Text]" custT="1"/>
      <dgm:spPr/>
      <dgm:t>
        <a:bodyPr/>
        <a:lstStyle/>
        <a:p>
          <a:r>
            <a:rPr lang="en-US" sz="2400" dirty="0" smtClean="0"/>
            <a:t>Mumbai Chapter</a:t>
          </a:r>
          <a:endParaRPr lang="en-US" sz="2400" dirty="0"/>
        </a:p>
      </dgm:t>
    </dgm:pt>
    <dgm:pt modelId="{BB74AEB7-3BFC-47A0-96F4-04FDEC89217F}" type="parTrans" cxnId="{88E77C95-2281-4EF9-8C7E-9AE9082D1382}">
      <dgm:prSet/>
      <dgm:spPr/>
      <dgm:t>
        <a:bodyPr/>
        <a:lstStyle/>
        <a:p>
          <a:endParaRPr lang="en-US"/>
        </a:p>
      </dgm:t>
    </dgm:pt>
    <dgm:pt modelId="{D5951495-1FAC-4C57-AE17-354479129445}" type="sibTrans" cxnId="{88E77C95-2281-4EF9-8C7E-9AE9082D1382}">
      <dgm:prSet/>
      <dgm:spPr/>
      <dgm:t>
        <a:bodyPr/>
        <a:lstStyle/>
        <a:p>
          <a:endParaRPr lang="en-US"/>
        </a:p>
      </dgm:t>
    </dgm:pt>
    <dgm:pt modelId="{DA26D9E0-EDA6-4C25-AEB5-0789C190913B}">
      <dgm:prSet phldrT="[Text]" custT="1"/>
      <dgm:spPr/>
      <dgm:t>
        <a:bodyPr/>
        <a:lstStyle/>
        <a:p>
          <a:r>
            <a:rPr lang="en-US" sz="2400" dirty="0" smtClean="0"/>
            <a:t>Chennai Chapter</a:t>
          </a:r>
          <a:endParaRPr lang="en-US" sz="2400" dirty="0"/>
        </a:p>
      </dgm:t>
    </dgm:pt>
    <dgm:pt modelId="{8C5EDE8D-2C8A-446C-BCE5-5B6DE87BC0D1}" type="parTrans" cxnId="{DA1A38B9-2D04-4838-9C0D-3A6B57653633}">
      <dgm:prSet/>
      <dgm:spPr/>
      <dgm:t>
        <a:bodyPr/>
        <a:lstStyle/>
        <a:p>
          <a:endParaRPr lang="en-US"/>
        </a:p>
      </dgm:t>
    </dgm:pt>
    <dgm:pt modelId="{7F894816-487B-469C-A492-BC59FB80B62D}" type="sibTrans" cxnId="{DA1A38B9-2D04-4838-9C0D-3A6B57653633}">
      <dgm:prSet/>
      <dgm:spPr/>
      <dgm:t>
        <a:bodyPr/>
        <a:lstStyle/>
        <a:p>
          <a:endParaRPr lang="en-US"/>
        </a:p>
      </dgm:t>
    </dgm:pt>
    <dgm:pt modelId="{3C260B13-AD30-4CDD-847D-55D1E306B940}" type="pres">
      <dgm:prSet presAssocID="{5E85184F-F77D-40AD-A0C7-257244B1452A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25524C5-F578-4133-B69C-6DEEC5568424}" type="pres">
      <dgm:prSet presAssocID="{BF386F3A-A063-4A92-BF00-A1800B791CA8}" presName="root1" presStyleCnt="0"/>
      <dgm:spPr/>
    </dgm:pt>
    <dgm:pt modelId="{8A27DEA8-46F2-483D-8566-4525E0D315B8}" type="pres">
      <dgm:prSet presAssocID="{BF386F3A-A063-4A92-BF00-A1800B791CA8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7F1A432-A8D9-47B4-AACB-CA1FBF45373C}" type="pres">
      <dgm:prSet presAssocID="{BF386F3A-A063-4A92-BF00-A1800B791CA8}" presName="level2hierChild" presStyleCnt="0"/>
      <dgm:spPr/>
    </dgm:pt>
    <dgm:pt modelId="{945E5878-55E8-4E3A-A711-8E081B7B0F7C}" type="pres">
      <dgm:prSet presAssocID="{DCB0A28B-F15E-47EA-8200-820D4B4A4883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A01D52A2-D34F-43F9-9993-8AACF02EE4E4}" type="pres">
      <dgm:prSet presAssocID="{DCB0A28B-F15E-47EA-8200-820D4B4A4883}" presName="connTx" presStyleLbl="parChTrans1D2" presStyleIdx="0" presStyleCnt="3"/>
      <dgm:spPr/>
      <dgm:t>
        <a:bodyPr/>
        <a:lstStyle/>
        <a:p>
          <a:endParaRPr lang="en-US"/>
        </a:p>
      </dgm:t>
    </dgm:pt>
    <dgm:pt modelId="{1DF28A9F-B299-42BF-AC0D-E8C46BDD359C}" type="pres">
      <dgm:prSet presAssocID="{1BA8E055-3A85-4781-8C33-D592D774B789}" presName="root2" presStyleCnt="0"/>
      <dgm:spPr/>
    </dgm:pt>
    <dgm:pt modelId="{F9A8585A-FFEC-429F-A577-354D60648343}" type="pres">
      <dgm:prSet presAssocID="{1BA8E055-3A85-4781-8C33-D592D774B789}" presName="LevelTwoTextNode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8F2A4AC-09FB-46B2-920E-AB29B2906396}" type="pres">
      <dgm:prSet presAssocID="{1BA8E055-3A85-4781-8C33-D592D774B789}" presName="level3hierChild" presStyleCnt="0"/>
      <dgm:spPr/>
    </dgm:pt>
    <dgm:pt modelId="{BE608B09-E984-40D7-8501-B01B7C426F21}" type="pres">
      <dgm:prSet presAssocID="{BB74AEB7-3BFC-47A0-96F4-04FDEC89217F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EB7D9AB6-8341-472C-80C6-9D56929C24EA}" type="pres">
      <dgm:prSet presAssocID="{BB74AEB7-3BFC-47A0-96F4-04FDEC89217F}" presName="connTx" presStyleLbl="parChTrans1D2" presStyleIdx="1" presStyleCnt="3"/>
      <dgm:spPr/>
      <dgm:t>
        <a:bodyPr/>
        <a:lstStyle/>
        <a:p>
          <a:endParaRPr lang="en-US"/>
        </a:p>
      </dgm:t>
    </dgm:pt>
    <dgm:pt modelId="{614971E1-B3A1-47D2-B8AE-1DE9274A89EA}" type="pres">
      <dgm:prSet presAssocID="{6D3FF997-FBC0-40F1-94A8-307602FE7BBC}" presName="root2" presStyleCnt="0"/>
      <dgm:spPr/>
    </dgm:pt>
    <dgm:pt modelId="{353E07A3-FE35-484C-8321-81A5C80D23D8}" type="pres">
      <dgm:prSet presAssocID="{6D3FF997-FBC0-40F1-94A8-307602FE7BBC}" presName="LevelTwoTextNode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9449A5B-8C8E-4CA5-AB41-56959E249FF7}" type="pres">
      <dgm:prSet presAssocID="{6D3FF997-FBC0-40F1-94A8-307602FE7BBC}" presName="level3hierChild" presStyleCnt="0"/>
      <dgm:spPr/>
    </dgm:pt>
    <dgm:pt modelId="{BE44E81A-751D-42F0-A2B1-CBFCA4693C74}" type="pres">
      <dgm:prSet presAssocID="{8C5EDE8D-2C8A-446C-BCE5-5B6DE87BC0D1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5FDB8516-B5F2-415F-8B58-DC31C9F15C62}" type="pres">
      <dgm:prSet presAssocID="{8C5EDE8D-2C8A-446C-BCE5-5B6DE87BC0D1}" presName="connTx" presStyleLbl="parChTrans1D2" presStyleIdx="2" presStyleCnt="3"/>
      <dgm:spPr/>
      <dgm:t>
        <a:bodyPr/>
        <a:lstStyle/>
        <a:p>
          <a:endParaRPr lang="en-US"/>
        </a:p>
      </dgm:t>
    </dgm:pt>
    <dgm:pt modelId="{0180C2CE-0693-4726-91C6-0C3547A69223}" type="pres">
      <dgm:prSet presAssocID="{DA26D9E0-EDA6-4C25-AEB5-0789C190913B}" presName="root2" presStyleCnt="0"/>
      <dgm:spPr/>
    </dgm:pt>
    <dgm:pt modelId="{038F6D4F-C71A-4CDC-890B-7CB2D2B2427F}" type="pres">
      <dgm:prSet presAssocID="{DA26D9E0-EDA6-4C25-AEB5-0789C190913B}" presName="LevelTwoTextNode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E31EFFF-D5DA-4958-819A-1CDF1CA3DECA}" type="pres">
      <dgm:prSet presAssocID="{DA26D9E0-EDA6-4C25-AEB5-0789C190913B}" presName="level3hierChild" presStyleCnt="0"/>
      <dgm:spPr/>
    </dgm:pt>
  </dgm:ptLst>
  <dgm:cxnLst>
    <dgm:cxn modelId="{A8C85CFF-934D-49AE-999F-F346F9D32B4A}" type="presOf" srcId="{BB74AEB7-3BFC-47A0-96F4-04FDEC89217F}" destId="{BE608B09-E984-40D7-8501-B01B7C426F21}" srcOrd="0" destOrd="0" presId="urn:microsoft.com/office/officeart/2008/layout/HorizontalMultiLevelHierarchy"/>
    <dgm:cxn modelId="{9846EED2-2506-4948-A230-F9883EDCF76F}" type="presOf" srcId="{1BA8E055-3A85-4781-8C33-D592D774B789}" destId="{F9A8585A-FFEC-429F-A577-354D60648343}" srcOrd="0" destOrd="0" presId="urn:microsoft.com/office/officeart/2008/layout/HorizontalMultiLevelHierarchy"/>
    <dgm:cxn modelId="{1A3CAE17-F37D-42AE-8DF8-1A2341927BC2}" srcId="{BF386F3A-A063-4A92-BF00-A1800B791CA8}" destId="{1BA8E055-3A85-4781-8C33-D592D774B789}" srcOrd="0" destOrd="0" parTransId="{DCB0A28B-F15E-47EA-8200-820D4B4A4883}" sibTransId="{B4BAEB18-8454-46CF-A1E6-80681114D4F1}"/>
    <dgm:cxn modelId="{DE8F0C78-CE75-4A23-955A-38DB05394796}" type="presOf" srcId="{BF386F3A-A063-4A92-BF00-A1800B791CA8}" destId="{8A27DEA8-46F2-483D-8566-4525E0D315B8}" srcOrd="0" destOrd="0" presId="urn:microsoft.com/office/officeart/2008/layout/HorizontalMultiLevelHierarchy"/>
    <dgm:cxn modelId="{B2DED143-718C-4A6E-AF09-C2516239F18C}" type="presOf" srcId="{6D3FF997-FBC0-40F1-94A8-307602FE7BBC}" destId="{353E07A3-FE35-484C-8321-81A5C80D23D8}" srcOrd="0" destOrd="0" presId="urn:microsoft.com/office/officeart/2008/layout/HorizontalMultiLevelHierarchy"/>
    <dgm:cxn modelId="{2364CE09-E95B-433E-B444-846D9820553D}" type="presOf" srcId="{BB74AEB7-3BFC-47A0-96F4-04FDEC89217F}" destId="{EB7D9AB6-8341-472C-80C6-9D56929C24EA}" srcOrd="1" destOrd="0" presId="urn:microsoft.com/office/officeart/2008/layout/HorizontalMultiLevelHierarchy"/>
    <dgm:cxn modelId="{DA1A38B9-2D04-4838-9C0D-3A6B57653633}" srcId="{BF386F3A-A063-4A92-BF00-A1800B791CA8}" destId="{DA26D9E0-EDA6-4C25-AEB5-0789C190913B}" srcOrd="2" destOrd="0" parTransId="{8C5EDE8D-2C8A-446C-BCE5-5B6DE87BC0D1}" sibTransId="{7F894816-487B-469C-A492-BC59FB80B62D}"/>
    <dgm:cxn modelId="{2F7A3A4B-74A3-4CFB-9255-4AD086D3A064}" type="presOf" srcId="{DCB0A28B-F15E-47EA-8200-820D4B4A4883}" destId="{A01D52A2-D34F-43F9-9993-8AACF02EE4E4}" srcOrd="1" destOrd="0" presId="urn:microsoft.com/office/officeart/2008/layout/HorizontalMultiLevelHierarchy"/>
    <dgm:cxn modelId="{81EEAB3F-C197-4D64-9028-E8B45308FD76}" type="presOf" srcId="{DA26D9E0-EDA6-4C25-AEB5-0789C190913B}" destId="{038F6D4F-C71A-4CDC-890B-7CB2D2B2427F}" srcOrd="0" destOrd="0" presId="urn:microsoft.com/office/officeart/2008/layout/HorizontalMultiLevelHierarchy"/>
    <dgm:cxn modelId="{6A071FB5-8D2A-4EDE-A596-B66C65744DED}" type="presOf" srcId="{DCB0A28B-F15E-47EA-8200-820D4B4A4883}" destId="{945E5878-55E8-4E3A-A711-8E081B7B0F7C}" srcOrd="0" destOrd="0" presId="urn:microsoft.com/office/officeart/2008/layout/HorizontalMultiLevelHierarchy"/>
    <dgm:cxn modelId="{B22B6BD2-DA00-40E8-AEE0-38E69DDAE28F}" type="presOf" srcId="{8C5EDE8D-2C8A-446C-BCE5-5B6DE87BC0D1}" destId="{5FDB8516-B5F2-415F-8B58-DC31C9F15C62}" srcOrd="1" destOrd="0" presId="urn:microsoft.com/office/officeart/2008/layout/HorizontalMultiLevelHierarchy"/>
    <dgm:cxn modelId="{70510339-3740-4112-B292-8C59C0CC5731}" type="presOf" srcId="{8C5EDE8D-2C8A-446C-BCE5-5B6DE87BC0D1}" destId="{BE44E81A-751D-42F0-A2B1-CBFCA4693C74}" srcOrd="0" destOrd="0" presId="urn:microsoft.com/office/officeart/2008/layout/HorizontalMultiLevelHierarchy"/>
    <dgm:cxn modelId="{88E77C95-2281-4EF9-8C7E-9AE9082D1382}" srcId="{BF386F3A-A063-4A92-BF00-A1800B791CA8}" destId="{6D3FF997-FBC0-40F1-94A8-307602FE7BBC}" srcOrd="1" destOrd="0" parTransId="{BB74AEB7-3BFC-47A0-96F4-04FDEC89217F}" sibTransId="{D5951495-1FAC-4C57-AE17-354479129445}"/>
    <dgm:cxn modelId="{F795B365-5D1F-47B5-B3AE-4B809341B5FF}" srcId="{5E85184F-F77D-40AD-A0C7-257244B1452A}" destId="{BF386F3A-A063-4A92-BF00-A1800B791CA8}" srcOrd="0" destOrd="0" parTransId="{39487577-8CD0-4DD2-B18C-C7E0C300E26C}" sibTransId="{4D688106-C2BD-4C02-939E-3EEC8063C0E1}"/>
    <dgm:cxn modelId="{F201964F-0B50-4010-88E6-0F5A9F4E5A20}" type="presOf" srcId="{5E85184F-F77D-40AD-A0C7-257244B1452A}" destId="{3C260B13-AD30-4CDD-847D-55D1E306B940}" srcOrd="0" destOrd="0" presId="urn:microsoft.com/office/officeart/2008/layout/HorizontalMultiLevelHierarchy"/>
    <dgm:cxn modelId="{F9CAC2E2-27D9-4816-AF06-078CE853B1FA}" type="presParOf" srcId="{3C260B13-AD30-4CDD-847D-55D1E306B940}" destId="{525524C5-F578-4133-B69C-6DEEC5568424}" srcOrd="0" destOrd="0" presId="urn:microsoft.com/office/officeart/2008/layout/HorizontalMultiLevelHierarchy"/>
    <dgm:cxn modelId="{447F8C63-A81E-4A95-BAEB-A850D8228E0C}" type="presParOf" srcId="{525524C5-F578-4133-B69C-6DEEC5568424}" destId="{8A27DEA8-46F2-483D-8566-4525E0D315B8}" srcOrd="0" destOrd="0" presId="urn:microsoft.com/office/officeart/2008/layout/HorizontalMultiLevelHierarchy"/>
    <dgm:cxn modelId="{DFA7C307-48C2-4081-A323-02E179D347EA}" type="presParOf" srcId="{525524C5-F578-4133-B69C-6DEEC5568424}" destId="{B7F1A432-A8D9-47B4-AACB-CA1FBF45373C}" srcOrd="1" destOrd="0" presId="urn:microsoft.com/office/officeart/2008/layout/HorizontalMultiLevelHierarchy"/>
    <dgm:cxn modelId="{E4FDD718-A18B-4318-85E2-644265156260}" type="presParOf" srcId="{B7F1A432-A8D9-47B4-AACB-CA1FBF45373C}" destId="{945E5878-55E8-4E3A-A711-8E081B7B0F7C}" srcOrd="0" destOrd="0" presId="urn:microsoft.com/office/officeart/2008/layout/HorizontalMultiLevelHierarchy"/>
    <dgm:cxn modelId="{5EFDF1B6-3920-40D8-A0CC-9B9544EFAA38}" type="presParOf" srcId="{945E5878-55E8-4E3A-A711-8E081B7B0F7C}" destId="{A01D52A2-D34F-43F9-9993-8AACF02EE4E4}" srcOrd="0" destOrd="0" presId="urn:microsoft.com/office/officeart/2008/layout/HorizontalMultiLevelHierarchy"/>
    <dgm:cxn modelId="{CC0B8A93-6F24-434A-A92C-E91560ADC8A2}" type="presParOf" srcId="{B7F1A432-A8D9-47B4-AACB-CA1FBF45373C}" destId="{1DF28A9F-B299-42BF-AC0D-E8C46BDD359C}" srcOrd="1" destOrd="0" presId="urn:microsoft.com/office/officeart/2008/layout/HorizontalMultiLevelHierarchy"/>
    <dgm:cxn modelId="{23E18BAB-DD1E-4900-AAE0-B70383F88588}" type="presParOf" srcId="{1DF28A9F-B299-42BF-AC0D-E8C46BDD359C}" destId="{F9A8585A-FFEC-429F-A577-354D60648343}" srcOrd="0" destOrd="0" presId="urn:microsoft.com/office/officeart/2008/layout/HorizontalMultiLevelHierarchy"/>
    <dgm:cxn modelId="{EF481418-9F1E-49B3-87F0-6BB33DFFEC20}" type="presParOf" srcId="{1DF28A9F-B299-42BF-AC0D-E8C46BDD359C}" destId="{58F2A4AC-09FB-46B2-920E-AB29B2906396}" srcOrd="1" destOrd="0" presId="urn:microsoft.com/office/officeart/2008/layout/HorizontalMultiLevelHierarchy"/>
    <dgm:cxn modelId="{1E774DDD-D713-4B1F-9E4F-9B60C4B131D2}" type="presParOf" srcId="{B7F1A432-A8D9-47B4-AACB-CA1FBF45373C}" destId="{BE608B09-E984-40D7-8501-B01B7C426F21}" srcOrd="2" destOrd="0" presId="urn:microsoft.com/office/officeart/2008/layout/HorizontalMultiLevelHierarchy"/>
    <dgm:cxn modelId="{1AAECE9C-1CB2-4C90-8BC5-A291B79B5D3B}" type="presParOf" srcId="{BE608B09-E984-40D7-8501-B01B7C426F21}" destId="{EB7D9AB6-8341-472C-80C6-9D56929C24EA}" srcOrd="0" destOrd="0" presId="urn:microsoft.com/office/officeart/2008/layout/HorizontalMultiLevelHierarchy"/>
    <dgm:cxn modelId="{FC26222F-61B3-4767-9064-C899FDC501F2}" type="presParOf" srcId="{B7F1A432-A8D9-47B4-AACB-CA1FBF45373C}" destId="{614971E1-B3A1-47D2-B8AE-1DE9274A89EA}" srcOrd="3" destOrd="0" presId="urn:microsoft.com/office/officeart/2008/layout/HorizontalMultiLevelHierarchy"/>
    <dgm:cxn modelId="{FFE4C68B-62C3-4D50-9A30-D0003AC68DC4}" type="presParOf" srcId="{614971E1-B3A1-47D2-B8AE-1DE9274A89EA}" destId="{353E07A3-FE35-484C-8321-81A5C80D23D8}" srcOrd="0" destOrd="0" presId="urn:microsoft.com/office/officeart/2008/layout/HorizontalMultiLevelHierarchy"/>
    <dgm:cxn modelId="{10DAAC76-3E28-44CA-9EA5-68288A051269}" type="presParOf" srcId="{614971E1-B3A1-47D2-B8AE-1DE9274A89EA}" destId="{79449A5B-8C8E-4CA5-AB41-56959E249FF7}" srcOrd="1" destOrd="0" presId="urn:microsoft.com/office/officeart/2008/layout/HorizontalMultiLevelHierarchy"/>
    <dgm:cxn modelId="{7D9FE29C-C5EA-4FAA-B7A6-392CA63C0762}" type="presParOf" srcId="{B7F1A432-A8D9-47B4-AACB-CA1FBF45373C}" destId="{BE44E81A-751D-42F0-A2B1-CBFCA4693C74}" srcOrd="4" destOrd="0" presId="urn:microsoft.com/office/officeart/2008/layout/HorizontalMultiLevelHierarchy"/>
    <dgm:cxn modelId="{39D4353A-16BB-4FC7-999F-DEA2923092FB}" type="presParOf" srcId="{BE44E81A-751D-42F0-A2B1-CBFCA4693C74}" destId="{5FDB8516-B5F2-415F-8B58-DC31C9F15C62}" srcOrd="0" destOrd="0" presId="urn:microsoft.com/office/officeart/2008/layout/HorizontalMultiLevelHierarchy"/>
    <dgm:cxn modelId="{344134DA-D75E-4339-BC0F-4F70ECEA9440}" type="presParOf" srcId="{B7F1A432-A8D9-47B4-AACB-CA1FBF45373C}" destId="{0180C2CE-0693-4726-91C6-0C3547A69223}" srcOrd="5" destOrd="0" presId="urn:microsoft.com/office/officeart/2008/layout/HorizontalMultiLevelHierarchy"/>
    <dgm:cxn modelId="{6C00B907-53D4-48D8-A1C1-A32759329A54}" type="presParOf" srcId="{0180C2CE-0693-4726-91C6-0C3547A69223}" destId="{038F6D4F-C71A-4CDC-890B-7CB2D2B2427F}" srcOrd="0" destOrd="0" presId="urn:microsoft.com/office/officeart/2008/layout/HorizontalMultiLevelHierarchy"/>
    <dgm:cxn modelId="{CB894BEE-E3DC-43A7-B881-CAAF86A0CE7F}" type="presParOf" srcId="{0180C2CE-0693-4726-91C6-0C3547A69223}" destId="{BE31EFFF-D5DA-4958-819A-1CDF1CA3DECA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F19E83C-2006-4EC7-B5B1-15C1B2D2DB9D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5ADA75DF-9855-4BB2-9920-03857746E762}">
      <dgm:prSet custT="1"/>
      <dgm:spPr/>
      <dgm:t>
        <a:bodyPr/>
        <a:lstStyle/>
        <a:p>
          <a:pPr rtl="0"/>
          <a:r>
            <a:rPr lang="en-US" sz="1050" dirty="0" smtClean="0">
              <a:latin typeface="+mj-lt"/>
              <a:cs typeface="Arial" panose="020B0604020202020204" pitchFamily="34" charset="0"/>
            </a:rPr>
            <a:t>Membership  (Bayer </a:t>
          </a:r>
          <a:r>
            <a:rPr lang="en-US" sz="1050" dirty="0" err="1" smtClean="0">
              <a:latin typeface="+mj-lt"/>
              <a:cs typeface="Arial" panose="020B0604020202020204" pitchFamily="34" charset="0"/>
            </a:rPr>
            <a:t>MaterialScience</a:t>
          </a:r>
          <a:r>
            <a:rPr lang="en-US" sz="1050" dirty="0" smtClean="0">
              <a:latin typeface="+mj-lt"/>
              <a:cs typeface="Arial" panose="020B0604020202020204" pitchFamily="34" charset="0"/>
            </a:rPr>
            <a:t>, </a:t>
          </a:r>
          <a:r>
            <a:rPr lang="en-US" sz="1050" dirty="0" err="1" smtClean="0">
              <a:latin typeface="+mj-lt"/>
              <a:cs typeface="Arial" panose="020B0604020202020204" pitchFamily="34" charset="0"/>
            </a:rPr>
            <a:t>Isofoam</a:t>
          </a:r>
          <a:r>
            <a:rPr lang="en-US" sz="1050" dirty="0" smtClean="0">
              <a:latin typeface="+mj-lt"/>
              <a:cs typeface="Arial" panose="020B0604020202020204" pitchFamily="34" charset="0"/>
            </a:rPr>
            <a:t>)</a:t>
          </a:r>
          <a:endParaRPr lang="en-US" sz="1050" dirty="0">
            <a:latin typeface="+mj-lt"/>
            <a:cs typeface="Arial" panose="020B0604020202020204" pitchFamily="34" charset="0"/>
          </a:endParaRPr>
        </a:p>
      </dgm:t>
    </dgm:pt>
    <dgm:pt modelId="{C2E47590-7D04-4339-B870-61157E86E616}" type="parTrans" cxnId="{860B5461-0A36-4B55-BF1A-6D5CC4CEE5EE}">
      <dgm:prSet/>
      <dgm:spPr/>
      <dgm:t>
        <a:bodyPr/>
        <a:lstStyle/>
        <a:p>
          <a:endParaRPr lang="en-US"/>
        </a:p>
      </dgm:t>
    </dgm:pt>
    <dgm:pt modelId="{EAE2E0BC-3C9D-42D8-9BD3-8B30B1B8AB9F}" type="sibTrans" cxnId="{860B5461-0A36-4B55-BF1A-6D5CC4CEE5EE}">
      <dgm:prSet/>
      <dgm:spPr/>
      <dgm:t>
        <a:bodyPr/>
        <a:lstStyle/>
        <a:p>
          <a:endParaRPr lang="en-US"/>
        </a:p>
      </dgm:t>
    </dgm:pt>
    <dgm:pt modelId="{D3A0D70D-0A2D-4083-B60C-4EBDA021B7F9}">
      <dgm:prSet/>
      <dgm:spPr/>
      <dgm:t>
        <a:bodyPr/>
        <a:lstStyle/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Clear Benefit Statement</a:t>
          </a:r>
        </a:p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Opening of Western Region Chapter</a:t>
          </a:r>
        </a:p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Pending Creation of Advisory Board</a:t>
          </a:r>
        </a:p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Opening of Southern Region Chapter</a:t>
          </a:r>
        </a:p>
      </dgm:t>
    </dgm:pt>
    <dgm:pt modelId="{5B3A49B7-B5E2-4A64-B573-E0AAC1C09225}" type="parTrans" cxnId="{4A8D3242-E17E-4384-AF25-6B51E8BD6847}">
      <dgm:prSet/>
      <dgm:spPr/>
      <dgm:t>
        <a:bodyPr/>
        <a:lstStyle/>
        <a:p>
          <a:endParaRPr lang="en-US"/>
        </a:p>
      </dgm:t>
    </dgm:pt>
    <dgm:pt modelId="{13B31E78-B3C9-4F86-B4A9-277C64ADF42A}" type="sibTrans" cxnId="{4A8D3242-E17E-4384-AF25-6B51E8BD6847}">
      <dgm:prSet/>
      <dgm:spPr/>
      <dgm:t>
        <a:bodyPr/>
        <a:lstStyle/>
        <a:p>
          <a:endParaRPr lang="en-US"/>
        </a:p>
      </dgm:t>
    </dgm:pt>
    <dgm:pt modelId="{F9D8815E-13AE-49CF-81C1-001FB3A68338}">
      <dgm:prSet custT="1"/>
      <dgm:spPr/>
      <dgm:t>
        <a:bodyPr/>
        <a:lstStyle/>
        <a:p>
          <a:pPr rtl="0"/>
          <a:r>
            <a:rPr lang="en-US" sz="1050" dirty="0" smtClean="0">
              <a:latin typeface="+mj-lt"/>
              <a:cs typeface="Arial" panose="020B0604020202020204" pitchFamily="34" charset="0"/>
            </a:rPr>
            <a:t>Nationwide seminars/webinars every quarter (Lloyd Insulations, IPUA)</a:t>
          </a:r>
          <a:endParaRPr lang="en-US" sz="1050" dirty="0">
            <a:latin typeface="+mj-lt"/>
            <a:cs typeface="Arial" panose="020B0604020202020204" pitchFamily="34" charset="0"/>
          </a:endParaRPr>
        </a:p>
      </dgm:t>
    </dgm:pt>
    <dgm:pt modelId="{17D33570-E470-4E37-B580-D9504E2E7581}" type="parTrans" cxnId="{F8570D4B-FF43-402B-B4C6-CFC6BBC57B23}">
      <dgm:prSet/>
      <dgm:spPr/>
      <dgm:t>
        <a:bodyPr/>
        <a:lstStyle/>
        <a:p>
          <a:endParaRPr lang="en-US"/>
        </a:p>
      </dgm:t>
    </dgm:pt>
    <dgm:pt modelId="{24477AD1-870A-4E63-A8EA-737A60E8965F}" type="sibTrans" cxnId="{F8570D4B-FF43-402B-B4C6-CFC6BBC57B23}">
      <dgm:prSet/>
      <dgm:spPr/>
      <dgm:t>
        <a:bodyPr/>
        <a:lstStyle/>
        <a:p>
          <a:endParaRPr lang="en-US"/>
        </a:p>
      </dgm:t>
    </dgm:pt>
    <dgm:pt modelId="{008E0094-3535-4297-9CB9-DAE0DCD19AE2}">
      <dgm:prSet/>
      <dgm:spPr/>
      <dgm:t>
        <a:bodyPr/>
        <a:lstStyle/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Alignment with IIA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F20B211D-7F71-4A13-B8AF-39C87C830C3C}" type="parTrans" cxnId="{9B410C33-3D50-4BFD-B338-A6FB41CB5319}">
      <dgm:prSet/>
      <dgm:spPr/>
      <dgm:t>
        <a:bodyPr/>
        <a:lstStyle/>
        <a:p>
          <a:endParaRPr lang="en-US"/>
        </a:p>
      </dgm:t>
    </dgm:pt>
    <dgm:pt modelId="{51CA272E-4E28-430E-8297-DD765ED92B38}" type="sibTrans" cxnId="{9B410C33-3D50-4BFD-B338-A6FB41CB5319}">
      <dgm:prSet/>
      <dgm:spPr/>
      <dgm:t>
        <a:bodyPr/>
        <a:lstStyle/>
        <a:p>
          <a:endParaRPr lang="en-US"/>
        </a:p>
      </dgm:t>
    </dgm:pt>
    <dgm:pt modelId="{D1C69744-02A6-450E-8B30-4DC3B374308D}">
      <dgm:prSet/>
      <dgm:spPr/>
      <dgm:t>
        <a:bodyPr/>
        <a:lstStyle/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MOU with IGBC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7A7F7B14-5960-467C-BADC-C23CB0480F0F}" type="parTrans" cxnId="{8F6EC7DC-8285-47ED-ACD3-8CACB8298F1B}">
      <dgm:prSet/>
      <dgm:spPr/>
      <dgm:t>
        <a:bodyPr/>
        <a:lstStyle/>
        <a:p>
          <a:endParaRPr lang="en-US"/>
        </a:p>
      </dgm:t>
    </dgm:pt>
    <dgm:pt modelId="{2B5326D0-6B4B-48DB-978B-0C709C4C8421}" type="sibTrans" cxnId="{8F6EC7DC-8285-47ED-ACD3-8CACB8298F1B}">
      <dgm:prSet/>
      <dgm:spPr/>
      <dgm:t>
        <a:bodyPr/>
        <a:lstStyle/>
        <a:p>
          <a:endParaRPr lang="en-US"/>
        </a:p>
      </dgm:t>
    </dgm:pt>
    <dgm:pt modelId="{0FFF38F6-FFB2-404F-B59A-AD0BC8BE46FF}">
      <dgm:prSet/>
      <dgm:spPr/>
      <dgm:t>
        <a:bodyPr/>
        <a:lstStyle/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Utilization of BEE SDA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B11444E1-B604-450A-9B21-A01F42E50019}" type="parTrans" cxnId="{508CF09D-4BAE-4EC6-AAD0-E77A4B298E41}">
      <dgm:prSet/>
      <dgm:spPr/>
      <dgm:t>
        <a:bodyPr/>
        <a:lstStyle/>
        <a:p>
          <a:endParaRPr lang="en-US"/>
        </a:p>
      </dgm:t>
    </dgm:pt>
    <dgm:pt modelId="{878A2885-23B1-48A7-8C53-416356338825}" type="sibTrans" cxnId="{508CF09D-4BAE-4EC6-AAD0-E77A4B298E41}">
      <dgm:prSet/>
      <dgm:spPr/>
      <dgm:t>
        <a:bodyPr/>
        <a:lstStyle/>
        <a:p>
          <a:endParaRPr lang="en-US"/>
        </a:p>
      </dgm:t>
    </dgm:pt>
    <dgm:pt modelId="{4AECB0E9-76C1-4DD0-9A78-068757CB3C3E}">
      <dgm:prSet/>
      <dgm:spPr/>
      <dgm:t>
        <a:bodyPr/>
        <a:lstStyle/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Resource mine</a:t>
          </a:r>
        </a:p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Online Help tools, advisory, calculator</a:t>
          </a:r>
        </a:p>
        <a:p>
          <a:pPr rtl="0"/>
          <a:endParaRPr lang="en-US" dirty="0" smtClean="0">
            <a:latin typeface="+mj-lt"/>
            <a:cs typeface="Arial" panose="020B0604020202020204" pitchFamily="34" charset="0"/>
          </a:endParaRPr>
        </a:p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Awareness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E148EB43-1E0E-429D-A22D-CC360F070162}" type="parTrans" cxnId="{FC1AAE3E-BE58-4B25-BAAA-8D5B8FE356B0}">
      <dgm:prSet/>
      <dgm:spPr/>
      <dgm:t>
        <a:bodyPr/>
        <a:lstStyle/>
        <a:p>
          <a:endParaRPr lang="en-US"/>
        </a:p>
      </dgm:t>
    </dgm:pt>
    <dgm:pt modelId="{77FA2B90-6CED-4F3F-8649-8590CABD3A9B}" type="sibTrans" cxnId="{FC1AAE3E-BE58-4B25-BAAA-8D5B8FE356B0}">
      <dgm:prSet/>
      <dgm:spPr/>
      <dgm:t>
        <a:bodyPr/>
        <a:lstStyle/>
        <a:p>
          <a:endParaRPr lang="en-US"/>
        </a:p>
      </dgm:t>
    </dgm:pt>
    <dgm:pt modelId="{8D74A036-9E8C-4542-A013-F4FACF080BAA}">
      <dgm:prSet custT="1"/>
      <dgm:spPr/>
      <dgm:t>
        <a:bodyPr/>
        <a:lstStyle/>
        <a:p>
          <a:pPr rtl="0"/>
          <a:r>
            <a:rPr lang="en-US" sz="1100" dirty="0" smtClean="0">
              <a:latin typeface="+mj-lt"/>
              <a:cs typeface="Arial" panose="020B0604020202020204" pitchFamily="34" charset="0"/>
            </a:rPr>
            <a:t>Insulation Materials Testing Facilitation Program (Lloyd Insulations, Supreme Petrochem) </a:t>
          </a:r>
          <a:endParaRPr lang="en-US" sz="1100" dirty="0">
            <a:latin typeface="+mj-lt"/>
            <a:cs typeface="Arial" panose="020B0604020202020204" pitchFamily="34" charset="0"/>
          </a:endParaRPr>
        </a:p>
      </dgm:t>
    </dgm:pt>
    <dgm:pt modelId="{7C6A571B-A7E9-4DB5-9023-F1CC2F160580}" type="parTrans" cxnId="{4320D78C-62AA-4923-873F-BA501A6532B8}">
      <dgm:prSet/>
      <dgm:spPr/>
      <dgm:t>
        <a:bodyPr/>
        <a:lstStyle/>
        <a:p>
          <a:endParaRPr lang="en-US"/>
        </a:p>
      </dgm:t>
    </dgm:pt>
    <dgm:pt modelId="{A39CCA3C-3FAF-4E75-A957-919E9C7219FE}" type="sibTrans" cxnId="{4320D78C-62AA-4923-873F-BA501A6532B8}">
      <dgm:prSet/>
      <dgm:spPr/>
      <dgm:t>
        <a:bodyPr/>
        <a:lstStyle/>
        <a:p>
          <a:endParaRPr lang="en-US"/>
        </a:p>
      </dgm:t>
    </dgm:pt>
    <dgm:pt modelId="{0F336A4D-7F55-4BBC-84AA-FDCC8E7708F3}">
      <dgm:prSet/>
      <dgm:spPr/>
      <dgm:t>
        <a:bodyPr/>
        <a:lstStyle/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Any NABL-approved lab tie up 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2F11D71A-0638-4200-8678-37E259BA1305}" type="parTrans" cxnId="{5FDEE051-847C-45FD-B1E9-7B3EFB0F5563}">
      <dgm:prSet/>
      <dgm:spPr/>
      <dgm:t>
        <a:bodyPr/>
        <a:lstStyle/>
        <a:p>
          <a:endParaRPr lang="en-US"/>
        </a:p>
      </dgm:t>
    </dgm:pt>
    <dgm:pt modelId="{922F2D5F-E967-44EA-8046-2DB82C449141}" type="sibTrans" cxnId="{5FDEE051-847C-45FD-B1E9-7B3EFB0F5563}">
      <dgm:prSet/>
      <dgm:spPr/>
      <dgm:t>
        <a:bodyPr/>
        <a:lstStyle/>
        <a:p>
          <a:endParaRPr lang="en-US"/>
        </a:p>
      </dgm:t>
    </dgm:pt>
    <dgm:pt modelId="{A99E7F85-68A0-4585-B042-DB1A9892DEA7}">
      <dgm:prSet/>
      <dgm:spPr/>
      <dgm:t>
        <a:bodyPr/>
        <a:lstStyle/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Time –bound discounts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2D08F59A-E50D-4BF5-867F-B21318BF1330}" type="parTrans" cxnId="{393F10DE-D5F9-4353-99F2-A8DCA8ABADE9}">
      <dgm:prSet/>
      <dgm:spPr/>
      <dgm:t>
        <a:bodyPr/>
        <a:lstStyle/>
        <a:p>
          <a:endParaRPr lang="en-US"/>
        </a:p>
      </dgm:t>
    </dgm:pt>
    <dgm:pt modelId="{C4577634-4614-4B0E-9C56-81323D0B1FFB}" type="sibTrans" cxnId="{393F10DE-D5F9-4353-99F2-A8DCA8ABADE9}">
      <dgm:prSet/>
      <dgm:spPr/>
      <dgm:t>
        <a:bodyPr/>
        <a:lstStyle/>
        <a:p>
          <a:endParaRPr lang="en-US"/>
        </a:p>
      </dgm:t>
    </dgm:pt>
    <dgm:pt modelId="{24FF16B0-9E0D-4DDF-B4A0-734E58BB2E20}">
      <dgm:prSet custT="1"/>
      <dgm:spPr/>
      <dgm:t>
        <a:bodyPr/>
        <a:lstStyle/>
        <a:p>
          <a:pPr rtl="0"/>
          <a:r>
            <a:rPr lang="en-US" sz="1100" dirty="0" smtClean="0">
              <a:latin typeface="+mj-lt"/>
              <a:cs typeface="Arial" panose="020B0604020202020204" pitchFamily="34" charset="0"/>
            </a:rPr>
            <a:t>Program for Applicator Capacity Building (Lloyd Ins, Owens Corning)</a:t>
          </a:r>
          <a:endParaRPr lang="en-US" sz="1100" dirty="0">
            <a:latin typeface="+mj-lt"/>
            <a:cs typeface="Arial" panose="020B0604020202020204" pitchFamily="34" charset="0"/>
          </a:endParaRPr>
        </a:p>
      </dgm:t>
    </dgm:pt>
    <dgm:pt modelId="{25A34785-2100-4E71-8DE9-95A2AC638A03}" type="parTrans" cxnId="{E4E490D5-75C8-421C-A983-1DB650F12298}">
      <dgm:prSet/>
      <dgm:spPr/>
      <dgm:t>
        <a:bodyPr/>
        <a:lstStyle/>
        <a:p>
          <a:endParaRPr lang="en-US"/>
        </a:p>
      </dgm:t>
    </dgm:pt>
    <dgm:pt modelId="{02518D6B-17E3-4F96-A74E-1558B7C012A2}" type="sibTrans" cxnId="{E4E490D5-75C8-421C-A983-1DB650F12298}">
      <dgm:prSet/>
      <dgm:spPr/>
      <dgm:t>
        <a:bodyPr/>
        <a:lstStyle/>
        <a:p>
          <a:endParaRPr lang="en-US"/>
        </a:p>
      </dgm:t>
    </dgm:pt>
    <dgm:pt modelId="{03A54CD7-DEEF-4F3B-AC0F-1BF2CC5F0316}">
      <dgm:prSet/>
      <dgm:spPr/>
      <dgm:t>
        <a:bodyPr/>
        <a:lstStyle/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Partnership with ITI;  to seek inclusion in the curriculum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F5B4ED3E-C6F8-4E85-B98C-FD0153B8047B}" type="parTrans" cxnId="{84973876-CBB5-4D4B-86A6-EF2C27480707}">
      <dgm:prSet/>
      <dgm:spPr/>
      <dgm:t>
        <a:bodyPr/>
        <a:lstStyle/>
        <a:p>
          <a:endParaRPr lang="en-US"/>
        </a:p>
      </dgm:t>
    </dgm:pt>
    <dgm:pt modelId="{B9EE12D6-24E2-474D-8946-106F2C52D731}" type="sibTrans" cxnId="{84973876-CBB5-4D4B-86A6-EF2C27480707}">
      <dgm:prSet/>
      <dgm:spPr/>
      <dgm:t>
        <a:bodyPr/>
        <a:lstStyle/>
        <a:p>
          <a:endParaRPr lang="en-US"/>
        </a:p>
      </dgm:t>
    </dgm:pt>
    <dgm:pt modelId="{47D256BB-67AA-4BAC-9211-4D80DF0D0D82}">
      <dgm:prSet/>
      <dgm:spPr/>
      <dgm:t>
        <a:bodyPr/>
        <a:lstStyle/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Certified courses (from BEE, ISOPA)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40AC51C2-0B5A-4EDE-9113-33519E9416A7}" type="parTrans" cxnId="{FD25244F-BE3E-4732-A023-9EA03189D301}">
      <dgm:prSet/>
      <dgm:spPr/>
      <dgm:t>
        <a:bodyPr/>
        <a:lstStyle/>
        <a:p>
          <a:endParaRPr lang="en-US"/>
        </a:p>
      </dgm:t>
    </dgm:pt>
    <dgm:pt modelId="{677AB401-A1C0-40F5-A14B-7BC295D36C48}" type="sibTrans" cxnId="{FD25244F-BE3E-4732-A023-9EA03189D301}">
      <dgm:prSet/>
      <dgm:spPr/>
      <dgm:t>
        <a:bodyPr/>
        <a:lstStyle/>
        <a:p>
          <a:endParaRPr lang="en-US"/>
        </a:p>
      </dgm:t>
    </dgm:pt>
    <dgm:pt modelId="{237ED268-D6F2-4BE7-B069-A1B9CAD848A6}">
      <dgm:prSet/>
      <dgm:spPr/>
      <dgm:t>
        <a:bodyPr/>
        <a:lstStyle/>
        <a:p>
          <a:pPr rtl="0"/>
          <a:r>
            <a:rPr lang="en-US" dirty="0" smtClean="0">
              <a:latin typeface="+mj-lt"/>
              <a:cs typeface="Arial" panose="020B0604020202020204" pitchFamily="34" charset="0"/>
            </a:rPr>
            <a:t>Quarterly – 1</a:t>
          </a:r>
          <a:r>
            <a:rPr lang="en-US" baseline="30000" dirty="0" smtClean="0">
              <a:latin typeface="+mj-lt"/>
              <a:cs typeface="Arial" panose="020B0604020202020204" pitchFamily="34" charset="0"/>
            </a:rPr>
            <a:t>st</a:t>
          </a:r>
          <a:r>
            <a:rPr lang="en-US" dirty="0" smtClean="0">
              <a:latin typeface="+mj-lt"/>
              <a:cs typeface="Arial" panose="020B0604020202020204" pitchFamily="34" charset="0"/>
            </a:rPr>
            <a:t> completed in GB Pant Polytechnic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4D854D27-BC6D-415A-8B66-7E3375BC27D2}" type="parTrans" cxnId="{9986CCD5-E750-48CE-8A10-5A4ADF9C79DF}">
      <dgm:prSet/>
      <dgm:spPr/>
      <dgm:t>
        <a:bodyPr/>
        <a:lstStyle/>
        <a:p>
          <a:endParaRPr lang="en-US"/>
        </a:p>
      </dgm:t>
    </dgm:pt>
    <dgm:pt modelId="{89374DD4-D70B-4C0D-8EE9-D924144B9A46}" type="sibTrans" cxnId="{9986CCD5-E750-48CE-8A10-5A4ADF9C79DF}">
      <dgm:prSet/>
      <dgm:spPr/>
      <dgm:t>
        <a:bodyPr/>
        <a:lstStyle/>
        <a:p>
          <a:endParaRPr lang="en-US"/>
        </a:p>
      </dgm:t>
    </dgm:pt>
    <dgm:pt modelId="{FA20E684-3C48-4E79-A89A-2E4A40844AB9}">
      <dgm:prSet/>
      <dgm:spPr/>
      <dgm:t>
        <a:bodyPr/>
        <a:lstStyle/>
        <a:p>
          <a:endParaRPr lang="en-US"/>
        </a:p>
      </dgm:t>
    </dgm:pt>
    <dgm:pt modelId="{1C03B15D-B33E-4C24-ACBA-5EAF64F52EE3}" type="parTrans" cxnId="{BF816947-2E5F-4115-BAB5-FDCF959849F3}">
      <dgm:prSet/>
      <dgm:spPr/>
      <dgm:t>
        <a:bodyPr/>
        <a:lstStyle/>
        <a:p>
          <a:endParaRPr lang="en-US"/>
        </a:p>
      </dgm:t>
    </dgm:pt>
    <dgm:pt modelId="{4C65F662-03C8-4E07-B52F-66205BFC7132}" type="sibTrans" cxnId="{BF816947-2E5F-4115-BAB5-FDCF959849F3}">
      <dgm:prSet/>
      <dgm:spPr/>
      <dgm:t>
        <a:bodyPr/>
        <a:lstStyle/>
        <a:p>
          <a:endParaRPr lang="en-US"/>
        </a:p>
      </dgm:t>
    </dgm:pt>
    <dgm:pt modelId="{E2C5E9C3-3D38-45F4-AE0F-FE36C248B323}">
      <dgm:prSet/>
      <dgm:spPr/>
      <dgm:t>
        <a:bodyPr/>
        <a:lstStyle/>
        <a:p>
          <a:endParaRPr lang="en-US"/>
        </a:p>
      </dgm:t>
    </dgm:pt>
    <dgm:pt modelId="{FF88C547-F93E-421F-913A-2220846B18C6}" type="parTrans" cxnId="{155D558F-9A9D-42EF-8D9E-A597C219A7E4}">
      <dgm:prSet/>
      <dgm:spPr/>
      <dgm:t>
        <a:bodyPr/>
        <a:lstStyle/>
        <a:p>
          <a:endParaRPr lang="en-US"/>
        </a:p>
      </dgm:t>
    </dgm:pt>
    <dgm:pt modelId="{B70B2EB0-7C97-40A1-B039-76216B29F67B}" type="sibTrans" cxnId="{155D558F-9A9D-42EF-8D9E-A597C219A7E4}">
      <dgm:prSet/>
      <dgm:spPr/>
      <dgm:t>
        <a:bodyPr/>
        <a:lstStyle/>
        <a:p>
          <a:endParaRPr lang="en-US"/>
        </a:p>
      </dgm:t>
    </dgm:pt>
    <dgm:pt modelId="{CEFBF3D5-8F02-4014-BDBC-D4C55CE15F5E}">
      <dgm:prSet/>
      <dgm:spPr/>
      <dgm:t>
        <a:bodyPr/>
        <a:lstStyle/>
        <a:p>
          <a:endParaRPr lang="en-US"/>
        </a:p>
      </dgm:t>
    </dgm:pt>
    <dgm:pt modelId="{600FD402-FC81-4D65-8FA6-BF599729A58A}" type="parTrans" cxnId="{5CABF417-3B97-42EE-BCFC-39DC0623B489}">
      <dgm:prSet/>
      <dgm:spPr/>
      <dgm:t>
        <a:bodyPr/>
        <a:lstStyle/>
        <a:p>
          <a:endParaRPr lang="en-US"/>
        </a:p>
      </dgm:t>
    </dgm:pt>
    <dgm:pt modelId="{ED1FFF66-A544-4376-827E-EA62FF29429F}" type="sibTrans" cxnId="{5CABF417-3B97-42EE-BCFC-39DC0623B489}">
      <dgm:prSet/>
      <dgm:spPr/>
      <dgm:t>
        <a:bodyPr/>
        <a:lstStyle/>
        <a:p>
          <a:endParaRPr lang="en-US"/>
        </a:p>
      </dgm:t>
    </dgm:pt>
    <dgm:pt modelId="{61087487-D47E-47EA-9A89-98CD7D551F51}">
      <dgm:prSet/>
      <dgm:spPr/>
      <dgm:t>
        <a:bodyPr/>
        <a:lstStyle/>
        <a:p>
          <a:endParaRPr lang="en-US"/>
        </a:p>
      </dgm:t>
    </dgm:pt>
    <dgm:pt modelId="{8E0706C7-9D02-4573-ACBC-5B8F0014F7F3}" type="parTrans" cxnId="{56354688-9AAB-4B0F-B78D-D4C43CC52457}">
      <dgm:prSet/>
      <dgm:spPr/>
      <dgm:t>
        <a:bodyPr/>
        <a:lstStyle/>
        <a:p>
          <a:endParaRPr lang="en-US"/>
        </a:p>
      </dgm:t>
    </dgm:pt>
    <dgm:pt modelId="{2B3C5760-5066-43F4-9566-A53D09CE2339}" type="sibTrans" cxnId="{56354688-9AAB-4B0F-B78D-D4C43CC52457}">
      <dgm:prSet/>
      <dgm:spPr/>
      <dgm:t>
        <a:bodyPr/>
        <a:lstStyle/>
        <a:p>
          <a:endParaRPr lang="en-US"/>
        </a:p>
      </dgm:t>
    </dgm:pt>
    <dgm:pt modelId="{8EDA06DF-BCCC-4B92-B3B3-2943BC7B2A0F}">
      <dgm:prSet/>
      <dgm:spPr/>
      <dgm:t>
        <a:bodyPr/>
        <a:lstStyle/>
        <a:p>
          <a:endParaRPr lang="en-US"/>
        </a:p>
      </dgm:t>
    </dgm:pt>
    <dgm:pt modelId="{4FDB349C-BF13-4CF7-86F7-E3069CA4DD1A}" type="parTrans" cxnId="{7275C539-7941-4AAF-BAC4-1C1826787B4C}">
      <dgm:prSet/>
      <dgm:spPr/>
      <dgm:t>
        <a:bodyPr/>
        <a:lstStyle/>
        <a:p>
          <a:endParaRPr lang="en-US"/>
        </a:p>
      </dgm:t>
    </dgm:pt>
    <dgm:pt modelId="{256E0B7C-60A0-4C6F-9854-8ED5B7F38F6C}" type="sibTrans" cxnId="{7275C539-7941-4AAF-BAC4-1C1826787B4C}">
      <dgm:prSet/>
      <dgm:spPr/>
      <dgm:t>
        <a:bodyPr/>
        <a:lstStyle/>
        <a:p>
          <a:endParaRPr lang="en-US"/>
        </a:p>
      </dgm:t>
    </dgm:pt>
    <dgm:pt modelId="{3B1C0DFF-D826-4EBE-BC5A-5EDAE1377EDC}">
      <dgm:prSet/>
      <dgm:spPr/>
      <dgm:t>
        <a:bodyPr/>
        <a:lstStyle/>
        <a:p>
          <a:endParaRPr lang="en-US"/>
        </a:p>
      </dgm:t>
    </dgm:pt>
    <dgm:pt modelId="{B7630488-5E92-4773-80B7-F41D06360386}" type="parTrans" cxnId="{1622C93B-B81F-42E0-A6B4-CFE3A0E26D59}">
      <dgm:prSet/>
      <dgm:spPr/>
      <dgm:t>
        <a:bodyPr/>
        <a:lstStyle/>
        <a:p>
          <a:endParaRPr lang="en-US"/>
        </a:p>
      </dgm:t>
    </dgm:pt>
    <dgm:pt modelId="{321CFF9A-7970-42B7-87CD-6C1F3FDF373B}" type="sibTrans" cxnId="{1622C93B-B81F-42E0-A6B4-CFE3A0E26D59}">
      <dgm:prSet/>
      <dgm:spPr/>
      <dgm:t>
        <a:bodyPr/>
        <a:lstStyle/>
        <a:p>
          <a:endParaRPr lang="en-US"/>
        </a:p>
      </dgm:t>
    </dgm:pt>
    <dgm:pt modelId="{547E7769-0AE9-488B-A624-03034D6E72C0}">
      <dgm:prSet/>
      <dgm:spPr/>
      <dgm:t>
        <a:bodyPr/>
        <a:lstStyle/>
        <a:p>
          <a:endParaRPr lang="en-US"/>
        </a:p>
      </dgm:t>
    </dgm:pt>
    <dgm:pt modelId="{00CEB771-72B2-44E0-8701-E2374CFF1BC7}" type="parTrans" cxnId="{1C808803-AF0F-4888-A7BA-C8C9C71ECB12}">
      <dgm:prSet/>
      <dgm:spPr/>
      <dgm:t>
        <a:bodyPr/>
        <a:lstStyle/>
        <a:p>
          <a:endParaRPr lang="en-US"/>
        </a:p>
      </dgm:t>
    </dgm:pt>
    <dgm:pt modelId="{AAF70E35-1748-490B-88A7-0D5AE067B797}" type="sibTrans" cxnId="{1C808803-AF0F-4888-A7BA-C8C9C71ECB12}">
      <dgm:prSet/>
      <dgm:spPr/>
      <dgm:t>
        <a:bodyPr/>
        <a:lstStyle/>
        <a:p>
          <a:endParaRPr lang="en-US"/>
        </a:p>
      </dgm:t>
    </dgm:pt>
    <dgm:pt modelId="{3138C996-C60E-4FA7-943F-76B13A8180D5}">
      <dgm:prSet/>
      <dgm:spPr/>
      <dgm:t>
        <a:bodyPr/>
        <a:lstStyle/>
        <a:p>
          <a:endParaRPr lang="en-US"/>
        </a:p>
      </dgm:t>
    </dgm:pt>
    <dgm:pt modelId="{194A6337-3107-4FF2-BA77-33B59A45317B}" type="parTrans" cxnId="{8024117F-655C-45E5-9A9A-3CCFB1CD5625}">
      <dgm:prSet/>
      <dgm:spPr/>
      <dgm:t>
        <a:bodyPr/>
        <a:lstStyle/>
        <a:p>
          <a:endParaRPr lang="en-US"/>
        </a:p>
      </dgm:t>
    </dgm:pt>
    <dgm:pt modelId="{E3BA873F-5C46-412D-914A-AC8984E4E7C1}" type="sibTrans" cxnId="{8024117F-655C-45E5-9A9A-3CCFB1CD5625}">
      <dgm:prSet/>
      <dgm:spPr/>
      <dgm:t>
        <a:bodyPr/>
        <a:lstStyle/>
        <a:p>
          <a:endParaRPr lang="en-US"/>
        </a:p>
      </dgm:t>
    </dgm:pt>
    <dgm:pt modelId="{B738B767-B5FD-4FB8-A019-41569ADF493B}">
      <dgm:prSet custT="1"/>
      <dgm:spPr>
        <a:solidFill>
          <a:srgbClr val="FFFF00"/>
        </a:solidFill>
      </dgm:spPr>
      <dgm:t>
        <a:bodyPr/>
        <a:lstStyle/>
        <a:p>
          <a:pPr rtl="0"/>
          <a:r>
            <a:rPr lang="en-US" sz="105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rPr>
            <a:t>Website of tools and case studies  (Owens Corning, Bayer </a:t>
          </a:r>
          <a:r>
            <a:rPr lang="en-US" sz="1050" dirty="0" err="1" smtClean="0">
              <a:solidFill>
                <a:srgbClr val="FF0000"/>
              </a:solidFill>
              <a:latin typeface="+mj-lt"/>
              <a:cs typeface="Arial" panose="020B0604020202020204" pitchFamily="34" charset="0"/>
            </a:rPr>
            <a:t>MaterialScience</a:t>
          </a:r>
          <a:r>
            <a:rPr lang="en-US" sz="105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rPr>
            <a:t>)</a:t>
          </a:r>
          <a:endParaRPr lang="en-US" sz="1050" dirty="0">
            <a:solidFill>
              <a:srgbClr val="FF0000"/>
            </a:solidFill>
            <a:latin typeface="+mj-lt"/>
            <a:cs typeface="Arial" panose="020B0604020202020204" pitchFamily="34" charset="0"/>
          </a:endParaRPr>
        </a:p>
      </dgm:t>
    </dgm:pt>
    <dgm:pt modelId="{8A65D42A-2AE5-45A6-9581-B6A873E4B947}" type="sibTrans" cxnId="{A43120E4-8FDE-4B44-BCCA-1E586B57B975}">
      <dgm:prSet/>
      <dgm:spPr/>
      <dgm:t>
        <a:bodyPr/>
        <a:lstStyle/>
        <a:p>
          <a:endParaRPr lang="en-US"/>
        </a:p>
      </dgm:t>
    </dgm:pt>
    <dgm:pt modelId="{525BCAB5-CD59-4020-B432-071F2532F210}" type="parTrans" cxnId="{A43120E4-8FDE-4B44-BCCA-1E586B57B975}">
      <dgm:prSet/>
      <dgm:spPr/>
      <dgm:t>
        <a:bodyPr/>
        <a:lstStyle/>
        <a:p>
          <a:endParaRPr lang="en-US"/>
        </a:p>
      </dgm:t>
    </dgm:pt>
    <dgm:pt modelId="{F8AEDEA5-BB0B-48AB-AACF-AD380E0975F3}" type="pres">
      <dgm:prSet presAssocID="{3F19E83C-2006-4EC7-B5B1-15C1B2D2DB9D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829F757A-CE74-4A8B-84D9-DD7921CDF877}" type="pres">
      <dgm:prSet presAssocID="{5ADA75DF-9855-4BB2-9920-03857746E762}" presName="parentText1" presStyleLbl="node1" presStyleIdx="0" presStyleCnt="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73029C-B4A5-4165-8044-E02F161C0E92}" type="pres">
      <dgm:prSet presAssocID="{5ADA75DF-9855-4BB2-9920-03857746E762}" presName="childText1" presStyleLbl="solidAlignAcc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CEB821-6A47-4656-8061-A1741588768A}" type="pres">
      <dgm:prSet presAssocID="{F9D8815E-13AE-49CF-81C1-001FB3A68338}" presName="parentText2" presStyleLbl="node1" presStyleIdx="1" presStyleCnt="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B1C807-BF09-4D14-AF65-7416298C0609}" type="pres">
      <dgm:prSet presAssocID="{F9D8815E-13AE-49CF-81C1-001FB3A68338}" presName="childText2" presStyleLbl="solidAlignAcc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71449D-4DF9-4217-9936-ED15CDC6C6AA}" type="pres">
      <dgm:prSet presAssocID="{B738B767-B5FD-4FB8-A019-41569ADF493B}" presName="parentText3" presStyleLbl="node1" presStyleIdx="2" presStyleCnt="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50DAC5-D7F8-4C0B-BB28-2B0531D65521}" type="pres">
      <dgm:prSet presAssocID="{B738B767-B5FD-4FB8-A019-41569ADF493B}" presName="childText3" presStyleLbl="solidAlignAcc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DD10AA-8597-4B53-90DC-BFBA76472FC7}" type="pres">
      <dgm:prSet presAssocID="{8D74A036-9E8C-4542-A013-F4FACF080BAA}" presName="parentText4" presStyleLbl="node1" presStyleIdx="3" presStyleCnt="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E76692-008A-472C-95C1-6B2E182A98C8}" type="pres">
      <dgm:prSet presAssocID="{8D74A036-9E8C-4542-A013-F4FACF080BAA}" presName="childText4" presStyleLbl="solidAlignAcc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52C1AD-E7C8-4898-A436-1EC0B9807EF8}" type="pres">
      <dgm:prSet presAssocID="{24FF16B0-9E0D-4DDF-B4A0-734E58BB2E20}" presName="parentText5" presStyleLbl="node1" presStyleIdx="4" presStyleCnt="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B608A3-F756-4B2F-9729-E2F7B30AF147}" type="pres">
      <dgm:prSet presAssocID="{24FF16B0-9E0D-4DDF-B4A0-734E58BB2E20}" presName="childText5" presStyleLbl="solidAlignAcc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93F10DE-D5F9-4353-99F2-A8DCA8ABADE9}" srcId="{8D74A036-9E8C-4542-A013-F4FACF080BAA}" destId="{A99E7F85-68A0-4585-B042-DB1A9892DEA7}" srcOrd="1" destOrd="0" parTransId="{2D08F59A-E50D-4BF5-867F-B21318BF1330}" sibTransId="{C4577634-4614-4B0E-9C56-81323D0B1FFB}"/>
    <dgm:cxn modelId="{C7F51B37-BC98-414B-A2CB-1A7F48677F54}" type="presOf" srcId="{B738B767-B5FD-4FB8-A019-41569ADF493B}" destId="{8F71449D-4DF9-4217-9936-ED15CDC6C6AA}" srcOrd="0" destOrd="0" presId="urn:microsoft.com/office/officeart/2009/3/layout/IncreasingArrowsProcess"/>
    <dgm:cxn modelId="{BF816947-2E5F-4115-BAB5-FDCF959849F3}" srcId="{3F19E83C-2006-4EC7-B5B1-15C1B2D2DB9D}" destId="{FA20E684-3C48-4E79-A89A-2E4A40844AB9}" srcOrd="5" destOrd="0" parTransId="{1C03B15D-B33E-4C24-ACBA-5EAF64F52EE3}" sibTransId="{4C65F662-03C8-4E07-B52F-66205BFC7132}"/>
    <dgm:cxn modelId="{8F6EC7DC-8285-47ED-ACD3-8CACB8298F1B}" srcId="{F9D8815E-13AE-49CF-81C1-001FB3A68338}" destId="{D1C69744-02A6-450E-8B30-4DC3B374308D}" srcOrd="1" destOrd="0" parTransId="{7A7F7B14-5960-467C-BADC-C23CB0480F0F}" sibTransId="{2B5326D0-6B4B-48DB-978B-0C709C4C8421}"/>
    <dgm:cxn modelId="{E4E490D5-75C8-421C-A983-1DB650F12298}" srcId="{3F19E83C-2006-4EC7-B5B1-15C1B2D2DB9D}" destId="{24FF16B0-9E0D-4DDF-B4A0-734E58BB2E20}" srcOrd="4" destOrd="0" parTransId="{25A34785-2100-4E71-8DE9-95A2AC638A03}" sibTransId="{02518D6B-17E3-4F96-A74E-1558B7C012A2}"/>
    <dgm:cxn modelId="{FD25244F-BE3E-4732-A023-9EA03189D301}" srcId="{24FF16B0-9E0D-4DDF-B4A0-734E58BB2E20}" destId="{47D256BB-67AA-4BAC-9211-4D80DF0D0D82}" srcOrd="1" destOrd="0" parTransId="{40AC51C2-0B5A-4EDE-9113-33519E9416A7}" sibTransId="{677AB401-A1C0-40F5-A14B-7BC295D36C48}"/>
    <dgm:cxn modelId="{860B5461-0A36-4B55-BF1A-6D5CC4CEE5EE}" srcId="{3F19E83C-2006-4EC7-B5B1-15C1B2D2DB9D}" destId="{5ADA75DF-9855-4BB2-9920-03857746E762}" srcOrd="0" destOrd="0" parTransId="{C2E47590-7D04-4339-B870-61157E86E616}" sibTransId="{EAE2E0BC-3C9D-42D8-9BD3-8B30B1B8AB9F}"/>
    <dgm:cxn modelId="{8024117F-655C-45E5-9A9A-3CCFB1CD5625}" srcId="{61087487-D47E-47EA-9A89-98CD7D551F51}" destId="{3138C996-C60E-4FA7-943F-76B13A8180D5}" srcOrd="3" destOrd="0" parTransId="{194A6337-3107-4FF2-BA77-33B59A45317B}" sibTransId="{E3BA873F-5C46-412D-914A-AC8984E4E7C1}"/>
    <dgm:cxn modelId="{7275C539-7941-4AAF-BAC4-1C1826787B4C}" srcId="{61087487-D47E-47EA-9A89-98CD7D551F51}" destId="{8EDA06DF-BCCC-4B92-B3B3-2943BC7B2A0F}" srcOrd="0" destOrd="0" parTransId="{4FDB349C-BF13-4CF7-86F7-E3069CA4DD1A}" sibTransId="{256E0B7C-60A0-4C6F-9854-8ED5B7F38F6C}"/>
    <dgm:cxn modelId="{F8570D4B-FF43-402B-B4C6-CFC6BBC57B23}" srcId="{3F19E83C-2006-4EC7-B5B1-15C1B2D2DB9D}" destId="{F9D8815E-13AE-49CF-81C1-001FB3A68338}" srcOrd="1" destOrd="0" parTransId="{17D33570-E470-4E37-B580-D9504E2E7581}" sibTransId="{24477AD1-870A-4E63-A8EA-737A60E8965F}"/>
    <dgm:cxn modelId="{9986CCD5-E750-48CE-8A10-5A4ADF9C79DF}" srcId="{24FF16B0-9E0D-4DDF-B4A0-734E58BB2E20}" destId="{237ED268-D6F2-4BE7-B069-A1B9CAD848A6}" srcOrd="2" destOrd="0" parTransId="{4D854D27-BC6D-415A-8B66-7E3375BC27D2}" sibTransId="{89374DD4-D70B-4C0D-8EE9-D924144B9A46}"/>
    <dgm:cxn modelId="{FC1AAE3E-BE58-4B25-BAAA-8D5B8FE356B0}" srcId="{B738B767-B5FD-4FB8-A019-41569ADF493B}" destId="{4AECB0E9-76C1-4DD0-9A78-068757CB3C3E}" srcOrd="0" destOrd="0" parTransId="{E148EB43-1E0E-429D-A22D-CC360F070162}" sibTransId="{77FA2B90-6CED-4F3F-8649-8590CABD3A9B}"/>
    <dgm:cxn modelId="{4E1B1224-AD7A-4AEB-B6A2-8AE39EE09624}" type="presOf" srcId="{008E0094-3535-4297-9CB9-DAE0DCD19AE2}" destId="{DEB1C807-BF09-4D14-AF65-7416298C0609}" srcOrd="0" destOrd="0" presId="urn:microsoft.com/office/officeart/2009/3/layout/IncreasingArrowsProcess"/>
    <dgm:cxn modelId="{4320D78C-62AA-4923-873F-BA501A6532B8}" srcId="{3F19E83C-2006-4EC7-B5B1-15C1B2D2DB9D}" destId="{8D74A036-9E8C-4542-A013-F4FACF080BAA}" srcOrd="3" destOrd="0" parTransId="{7C6A571B-A7E9-4DB5-9023-F1CC2F160580}" sibTransId="{A39CCA3C-3FAF-4E75-A957-919E9C7219FE}"/>
    <dgm:cxn modelId="{54A22829-E5CC-4387-917B-B71661B0EC28}" type="presOf" srcId="{D1C69744-02A6-450E-8B30-4DC3B374308D}" destId="{DEB1C807-BF09-4D14-AF65-7416298C0609}" srcOrd="0" destOrd="1" presId="urn:microsoft.com/office/officeart/2009/3/layout/IncreasingArrowsProcess"/>
    <dgm:cxn modelId="{2C926EB5-C66F-4A03-86E8-A13E749E647D}" type="presOf" srcId="{A99E7F85-68A0-4585-B042-DB1A9892DEA7}" destId="{78E76692-008A-472C-95C1-6B2E182A98C8}" srcOrd="0" destOrd="1" presId="urn:microsoft.com/office/officeart/2009/3/layout/IncreasingArrowsProcess"/>
    <dgm:cxn modelId="{16588BAC-E5A9-47F8-95A9-47C7D2FBB4DE}" type="presOf" srcId="{47D256BB-67AA-4BAC-9211-4D80DF0D0D82}" destId="{50B608A3-F756-4B2F-9729-E2F7B30AF147}" srcOrd="0" destOrd="1" presId="urn:microsoft.com/office/officeart/2009/3/layout/IncreasingArrowsProcess"/>
    <dgm:cxn modelId="{E50D1C7C-8387-4919-B742-FAC28D4F3D36}" type="presOf" srcId="{D3A0D70D-0A2D-4083-B60C-4EBDA021B7F9}" destId="{E773029C-B4A5-4165-8044-E02F161C0E92}" srcOrd="0" destOrd="0" presId="urn:microsoft.com/office/officeart/2009/3/layout/IncreasingArrowsProcess"/>
    <dgm:cxn modelId="{9B410C33-3D50-4BFD-B338-A6FB41CB5319}" srcId="{F9D8815E-13AE-49CF-81C1-001FB3A68338}" destId="{008E0094-3535-4297-9CB9-DAE0DCD19AE2}" srcOrd="0" destOrd="0" parTransId="{F20B211D-7F71-4A13-B8AF-39C87C830C3C}" sibTransId="{51CA272E-4E28-430E-8297-DD765ED92B38}"/>
    <dgm:cxn modelId="{C4B8398E-6BA5-407E-9968-6037D5766513}" type="presOf" srcId="{F9D8815E-13AE-49CF-81C1-001FB3A68338}" destId="{ABCEB821-6A47-4656-8061-A1741588768A}" srcOrd="0" destOrd="0" presId="urn:microsoft.com/office/officeart/2009/3/layout/IncreasingArrowsProcess"/>
    <dgm:cxn modelId="{5CABF417-3B97-42EE-BCFC-39DC0623B489}" srcId="{FA20E684-3C48-4E79-A89A-2E4A40844AB9}" destId="{CEFBF3D5-8F02-4014-BDBC-D4C55CE15F5E}" srcOrd="1" destOrd="0" parTransId="{600FD402-FC81-4D65-8FA6-BF599729A58A}" sibTransId="{ED1FFF66-A544-4376-827E-EA62FF29429F}"/>
    <dgm:cxn modelId="{2FC658F5-DC36-49B2-8EF7-B10AF41598CA}" type="presOf" srcId="{237ED268-D6F2-4BE7-B069-A1B9CAD848A6}" destId="{50B608A3-F756-4B2F-9729-E2F7B30AF147}" srcOrd="0" destOrd="2" presId="urn:microsoft.com/office/officeart/2009/3/layout/IncreasingArrowsProcess"/>
    <dgm:cxn modelId="{0843C964-1F4F-4AD7-BAD8-AD3413567920}" type="presOf" srcId="{3F19E83C-2006-4EC7-B5B1-15C1B2D2DB9D}" destId="{F8AEDEA5-BB0B-48AB-AACF-AD380E0975F3}" srcOrd="0" destOrd="0" presId="urn:microsoft.com/office/officeart/2009/3/layout/IncreasingArrowsProcess"/>
    <dgm:cxn modelId="{94CA8EDB-C313-4EE6-A730-B622B44BFBF3}" type="presOf" srcId="{24FF16B0-9E0D-4DDF-B4A0-734E58BB2E20}" destId="{3F52C1AD-E7C8-4898-A436-1EC0B9807EF8}" srcOrd="0" destOrd="0" presId="urn:microsoft.com/office/officeart/2009/3/layout/IncreasingArrowsProcess"/>
    <dgm:cxn modelId="{D92EBAC0-C936-454B-8BF8-513212642CCD}" type="presOf" srcId="{03A54CD7-DEEF-4F3B-AC0F-1BF2CC5F0316}" destId="{50B608A3-F756-4B2F-9729-E2F7B30AF147}" srcOrd="0" destOrd="0" presId="urn:microsoft.com/office/officeart/2009/3/layout/IncreasingArrowsProcess"/>
    <dgm:cxn modelId="{155D558F-9A9D-42EF-8D9E-A597C219A7E4}" srcId="{FA20E684-3C48-4E79-A89A-2E4A40844AB9}" destId="{E2C5E9C3-3D38-45F4-AE0F-FE36C248B323}" srcOrd="0" destOrd="0" parTransId="{FF88C547-F93E-421F-913A-2220846B18C6}" sibTransId="{B70B2EB0-7C97-40A1-B039-76216B29F67B}"/>
    <dgm:cxn modelId="{4A8D3242-E17E-4384-AF25-6B51E8BD6847}" srcId="{5ADA75DF-9855-4BB2-9920-03857746E762}" destId="{D3A0D70D-0A2D-4083-B60C-4EBDA021B7F9}" srcOrd="0" destOrd="0" parTransId="{5B3A49B7-B5E2-4A64-B573-E0AAC1C09225}" sibTransId="{13B31E78-B3C9-4F86-B4A9-277C64ADF42A}"/>
    <dgm:cxn modelId="{A43120E4-8FDE-4B44-BCCA-1E586B57B975}" srcId="{3F19E83C-2006-4EC7-B5B1-15C1B2D2DB9D}" destId="{B738B767-B5FD-4FB8-A019-41569ADF493B}" srcOrd="2" destOrd="0" parTransId="{525BCAB5-CD59-4020-B432-071F2532F210}" sibTransId="{8A65D42A-2AE5-45A6-9581-B6A873E4B947}"/>
    <dgm:cxn modelId="{C878642D-6165-483C-8939-694FF71A8934}" type="presOf" srcId="{0F336A4D-7F55-4BBC-84AA-FDCC8E7708F3}" destId="{78E76692-008A-472C-95C1-6B2E182A98C8}" srcOrd="0" destOrd="0" presId="urn:microsoft.com/office/officeart/2009/3/layout/IncreasingArrowsProcess"/>
    <dgm:cxn modelId="{1C808803-AF0F-4888-A7BA-C8C9C71ECB12}" srcId="{61087487-D47E-47EA-9A89-98CD7D551F51}" destId="{547E7769-0AE9-488B-A624-03034D6E72C0}" srcOrd="2" destOrd="0" parTransId="{00CEB771-72B2-44E0-8701-E2374CFF1BC7}" sibTransId="{AAF70E35-1748-490B-88A7-0D5AE067B797}"/>
    <dgm:cxn modelId="{5FDEE051-847C-45FD-B1E9-7B3EFB0F5563}" srcId="{8D74A036-9E8C-4542-A013-F4FACF080BAA}" destId="{0F336A4D-7F55-4BBC-84AA-FDCC8E7708F3}" srcOrd="0" destOrd="0" parTransId="{2F11D71A-0638-4200-8678-37E259BA1305}" sibTransId="{922F2D5F-E967-44EA-8046-2DB82C449141}"/>
    <dgm:cxn modelId="{84973876-CBB5-4D4B-86A6-EF2C27480707}" srcId="{24FF16B0-9E0D-4DDF-B4A0-734E58BB2E20}" destId="{03A54CD7-DEEF-4F3B-AC0F-1BF2CC5F0316}" srcOrd="0" destOrd="0" parTransId="{F5B4ED3E-C6F8-4E85-B98C-FD0153B8047B}" sibTransId="{B9EE12D6-24E2-474D-8946-106F2C52D731}"/>
    <dgm:cxn modelId="{56354688-9AAB-4B0F-B78D-D4C43CC52457}" srcId="{3F19E83C-2006-4EC7-B5B1-15C1B2D2DB9D}" destId="{61087487-D47E-47EA-9A89-98CD7D551F51}" srcOrd="6" destOrd="0" parTransId="{8E0706C7-9D02-4573-ACBC-5B8F0014F7F3}" sibTransId="{2B3C5760-5066-43F4-9566-A53D09CE2339}"/>
    <dgm:cxn modelId="{508CF09D-4BAE-4EC6-AAD0-E77A4B298E41}" srcId="{F9D8815E-13AE-49CF-81C1-001FB3A68338}" destId="{0FFF38F6-FFB2-404F-B59A-AD0BC8BE46FF}" srcOrd="2" destOrd="0" parTransId="{B11444E1-B604-450A-9B21-A01F42E50019}" sibTransId="{878A2885-23B1-48A7-8C53-416356338825}"/>
    <dgm:cxn modelId="{8738F395-965C-4106-A64F-5FC8C93A9D6C}" type="presOf" srcId="{8D74A036-9E8C-4542-A013-F4FACF080BAA}" destId="{3CDD10AA-8597-4B53-90DC-BFBA76472FC7}" srcOrd="0" destOrd="0" presId="urn:microsoft.com/office/officeart/2009/3/layout/IncreasingArrowsProcess"/>
    <dgm:cxn modelId="{BAC9CAE2-8E8C-411D-A801-2F72A9D35E67}" type="presOf" srcId="{4AECB0E9-76C1-4DD0-9A78-068757CB3C3E}" destId="{C350DAC5-D7F8-4C0B-BB28-2B0531D65521}" srcOrd="0" destOrd="0" presId="urn:microsoft.com/office/officeart/2009/3/layout/IncreasingArrowsProcess"/>
    <dgm:cxn modelId="{1622C93B-B81F-42E0-A6B4-CFE3A0E26D59}" srcId="{61087487-D47E-47EA-9A89-98CD7D551F51}" destId="{3B1C0DFF-D826-4EBE-BC5A-5EDAE1377EDC}" srcOrd="1" destOrd="0" parTransId="{B7630488-5E92-4773-80B7-F41D06360386}" sibTransId="{321CFF9A-7970-42B7-87CD-6C1F3FDF373B}"/>
    <dgm:cxn modelId="{CD5D58A2-3EAE-4F08-95AF-CC8F83C235DF}" type="presOf" srcId="{0FFF38F6-FFB2-404F-B59A-AD0BC8BE46FF}" destId="{DEB1C807-BF09-4D14-AF65-7416298C0609}" srcOrd="0" destOrd="2" presId="urn:microsoft.com/office/officeart/2009/3/layout/IncreasingArrowsProcess"/>
    <dgm:cxn modelId="{AA0ABE2C-9E54-4AC3-89B1-01C91D2A9CFA}" type="presOf" srcId="{5ADA75DF-9855-4BB2-9920-03857746E762}" destId="{829F757A-CE74-4A8B-84D9-DD7921CDF877}" srcOrd="0" destOrd="0" presId="urn:microsoft.com/office/officeart/2009/3/layout/IncreasingArrowsProcess"/>
    <dgm:cxn modelId="{DA3FA309-DEDA-49DF-A4BD-E5687ABAD138}" type="presParOf" srcId="{F8AEDEA5-BB0B-48AB-AACF-AD380E0975F3}" destId="{829F757A-CE74-4A8B-84D9-DD7921CDF877}" srcOrd="0" destOrd="0" presId="urn:microsoft.com/office/officeart/2009/3/layout/IncreasingArrowsProcess"/>
    <dgm:cxn modelId="{A24F3537-39D0-476B-A4CF-11E1C64A9F44}" type="presParOf" srcId="{F8AEDEA5-BB0B-48AB-AACF-AD380E0975F3}" destId="{E773029C-B4A5-4165-8044-E02F161C0E92}" srcOrd="1" destOrd="0" presId="urn:microsoft.com/office/officeart/2009/3/layout/IncreasingArrowsProcess"/>
    <dgm:cxn modelId="{00EF04A7-0BBD-4C9B-B446-BCC7D9A17F50}" type="presParOf" srcId="{F8AEDEA5-BB0B-48AB-AACF-AD380E0975F3}" destId="{ABCEB821-6A47-4656-8061-A1741588768A}" srcOrd="2" destOrd="0" presId="urn:microsoft.com/office/officeart/2009/3/layout/IncreasingArrowsProcess"/>
    <dgm:cxn modelId="{0AB7BB99-EA52-4B9C-B5C5-365FB1D749A8}" type="presParOf" srcId="{F8AEDEA5-BB0B-48AB-AACF-AD380E0975F3}" destId="{DEB1C807-BF09-4D14-AF65-7416298C0609}" srcOrd="3" destOrd="0" presId="urn:microsoft.com/office/officeart/2009/3/layout/IncreasingArrowsProcess"/>
    <dgm:cxn modelId="{65320308-A8E5-4C71-8EBC-9B582BB8BDAA}" type="presParOf" srcId="{F8AEDEA5-BB0B-48AB-AACF-AD380E0975F3}" destId="{8F71449D-4DF9-4217-9936-ED15CDC6C6AA}" srcOrd="4" destOrd="0" presId="urn:microsoft.com/office/officeart/2009/3/layout/IncreasingArrowsProcess"/>
    <dgm:cxn modelId="{29CA0F21-BF5B-4F73-B5DB-32F1E991E731}" type="presParOf" srcId="{F8AEDEA5-BB0B-48AB-AACF-AD380E0975F3}" destId="{C350DAC5-D7F8-4C0B-BB28-2B0531D65521}" srcOrd="5" destOrd="0" presId="urn:microsoft.com/office/officeart/2009/3/layout/IncreasingArrowsProcess"/>
    <dgm:cxn modelId="{44C791EB-3D30-426B-B26C-E674C77761AA}" type="presParOf" srcId="{F8AEDEA5-BB0B-48AB-AACF-AD380E0975F3}" destId="{3CDD10AA-8597-4B53-90DC-BFBA76472FC7}" srcOrd="6" destOrd="0" presId="urn:microsoft.com/office/officeart/2009/3/layout/IncreasingArrowsProcess"/>
    <dgm:cxn modelId="{ED866447-33AA-43EB-95E8-F5F03F4C78F2}" type="presParOf" srcId="{F8AEDEA5-BB0B-48AB-AACF-AD380E0975F3}" destId="{78E76692-008A-472C-95C1-6B2E182A98C8}" srcOrd="7" destOrd="0" presId="urn:microsoft.com/office/officeart/2009/3/layout/IncreasingArrowsProcess"/>
    <dgm:cxn modelId="{E3A8702D-7096-4ECD-AED4-4FB4FCAB6EE4}" type="presParOf" srcId="{F8AEDEA5-BB0B-48AB-AACF-AD380E0975F3}" destId="{3F52C1AD-E7C8-4898-A436-1EC0B9807EF8}" srcOrd="8" destOrd="0" presId="urn:microsoft.com/office/officeart/2009/3/layout/IncreasingArrowsProcess"/>
    <dgm:cxn modelId="{645431F1-2966-4CA0-A67D-ED15C590400B}" type="presParOf" srcId="{F8AEDEA5-BB0B-48AB-AACF-AD380E0975F3}" destId="{50B608A3-F756-4B2F-9729-E2F7B30AF147}" srcOrd="9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291D531-DF2A-41D1-90D8-8FF139145D06}" type="doc">
      <dgm:prSet loTypeId="urn:microsoft.com/office/officeart/2005/8/layout/target1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2FF0EAAD-3A9F-422B-A8CA-28710EA2C79F}">
      <dgm:prSet custT="1"/>
      <dgm:spPr/>
      <dgm:t>
        <a:bodyPr/>
        <a:lstStyle/>
        <a:p>
          <a:pPr rtl="0"/>
          <a:r>
            <a:rPr lang="en-US" sz="1800" dirty="0" smtClean="0">
              <a:latin typeface="Arial" panose="020B0604020202020204" pitchFamily="34" charset="0"/>
              <a:cs typeface="Arial" panose="020B0604020202020204" pitchFamily="34" charset="0"/>
            </a:rPr>
            <a:t>Co-hosted seminars/webinars every quarter</a:t>
          </a:r>
          <a:endParaRPr lang="en-US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559FC0F-F1FA-45BF-BFD6-398F1EEDEEFA}" type="parTrans" cxnId="{99278A9A-8E75-45A3-97F2-EE42618AF4C3}">
      <dgm:prSet/>
      <dgm:spPr/>
      <dgm:t>
        <a:bodyPr/>
        <a:lstStyle/>
        <a:p>
          <a:endParaRPr lang="en-US"/>
        </a:p>
      </dgm:t>
    </dgm:pt>
    <dgm:pt modelId="{76FE5466-AED0-4C5C-9DC5-ADE3AE076844}" type="sibTrans" cxnId="{99278A9A-8E75-45A3-97F2-EE42618AF4C3}">
      <dgm:prSet/>
      <dgm:spPr/>
      <dgm:t>
        <a:bodyPr/>
        <a:lstStyle/>
        <a:p>
          <a:endParaRPr lang="en-US"/>
        </a:p>
      </dgm:t>
    </dgm:pt>
    <dgm:pt modelId="{D4D8EAB5-71A6-465A-A6A5-92CB4DE80787}">
      <dgm:prSet custT="1"/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pPr rtl="0"/>
          <a:r>
            <a:rPr lang="en-US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Ecosystem for mandatory Thermal insulation as per ECBC (R-value)</a:t>
          </a:r>
          <a:endParaRPr lang="en-US" sz="16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76DA35B-0518-4275-BB5B-545CA30C7064}" type="parTrans" cxnId="{B93770E3-463F-4E49-B9EF-4DAB68FE4C1C}">
      <dgm:prSet/>
      <dgm:spPr/>
      <dgm:t>
        <a:bodyPr/>
        <a:lstStyle/>
        <a:p>
          <a:endParaRPr lang="en-US"/>
        </a:p>
      </dgm:t>
    </dgm:pt>
    <dgm:pt modelId="{76D8B689-0311-4D00-AFA1-08A0884A0AE3}" type="sibTrans" cxnId="{B93770E3-463F-4E49-B9EF-4DAB68FE4C1C}">
      <dgm:prSet/>
      <dgm:spPr/>
      <dgm:t>
        <a:bodyPr/>
        <a:lstStyle/>
        <a:p>
          <a:endParaRPr lang="en-US"/>
        </a:p>
      </dgm:t>
    </dgm:pt>
    <dgm:pt modelId="{A186E3B5-7B36-4B81-B891-C9709B5DC5F3}">
      <dgm:prSet custT="1"/>
      <dgm:spPr>
        <a:solidFill>
          <a:schemeClr val="accent2">
            <a:lumMod val="75000"/>
          </a:schemeClr>
        </a:solidFill>
      </dgm:spPr>
      <dgm:t>
        <a:bodyPr/>
        <a:lstStyle/>
        <a:p>
          <a:pPr rtl="0"/>
          <a:r>
            <a:rPr lang="en-US" sz="1800" dirty="0" smtClean="0">
              <a:latin typeface="Arial" panose="020B0604020202020204" pitchFamily="34" charset="0"/>
              <a:cs typeface="Arial" panose="020B0604020202020204" pitchFamily="34" charset="0"/>
            </a:rPr>
            <a:t>Grants for home insulation</a:t>
          </a:r>
          <a:endParaRPr lang="en-US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3B360A3-F3E3-4173-91A7-2CB02702DC63}" type="parTrans" cxnId="{5671276F-4B2F-47F5-9CE7-DFB3398320B1}">
      <dgm:prSet/>
      <dgm:spPr/>
      <dgm:t>
        <a:bodyPr/>
        <a:lstStyle/>
        <a:p>
          <a:endParaRPr lang="en-US"/>
        </a:p>
      </dgm:t>
    </dgm:pt>
    <dgm:pt modelId="{255019EB-AB39-4D1E-B9AB-B258E68265FD}" type="sibTrans" cxnId="{5671276F-4B2F-47F5-9CE7-DFB3398320B1}">
      <dgm:prSet/>
      <dgm:spPr/>
      <dgm:t>
        <a:bodyPr/>
        <a:lstStyle/>
        <a:p>
          <a:endParaRPr lang="en-US"/>
        </a:p>
      </dgm:t>
    </dgm:pt>
    <dgm:pt modelId="{DF9D9B57-A61D-46B8-AAAE-B6C5C00CC27D}" type="pres">
      <dgm:prSet presAssocID="{6291D531-DF2A-41D1-90D8-8FF139145D06}" presName="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86B59A7-D763-4AC0-B0FA-2F7C66B31A4D}" type="pres">
      <dgm:prSet presAssocID="{2FF0EAAD-3A9F-422B-A8CA-28710EA2C79F}" presName="circle1" presStyleLbl="lnNode1" presStyleIdx="0" presStyleCnt="3"/>
      <dgm:spPr/>
    </dgm:pt>
    <dgm:pt modelId="{FA624259-F708-40EE-AE92-B9021F23B50E}" type="pres">
      <dgm:prSet presAssocID="{2FF0EAAD-3A9F-422B-A8CA-28710EA2C79F}" presName="text1" presStyleLbl="revTx" presStyleIdx="0" presStyleCnt="3" custScaleX="12337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053EDA-7336-4720-87CE-B4EDE89FCD38}" type="pres">
      <dgm:prSet presAssocID="{2FF0EAAD-3A9F-422B-A8CA-28710EA2C79F}" presName="line1" presStyleLbl="callout" presStyleIdx="0" presStyleCnt="6"/>
      <dgm:spPr/>
    </dgm:pt>
    <dgm:pt modelId="{E7E1E89F-D798-464B-8F13-1399BF4813E4}" type="pres">
      <dgm:prSet presAssocID="{2FF0EAAD-3A9F-422B-A8CA-28710EA2C79F}" presName="d1" presStyleLbl="callout" presStyleIdx="1" presStyleCnt="6"/>
      <dgm:spPr/>
    </dgm:pt>
    <dgm:pt modelId="{E7B8AC38-C651-46FD-8494-90A370DE27EE}" type="pres">
      <dgm:prSet presAssocID="{D4D8EAB5-71A6-465A-A6A5-92CB4DE80787}" presName="circle2" presStyleLbl="lnNode1" presStyleIdx="1" presStyleCnt="3"/>
      <dgm:spPr/>
    </dgm:pt>
    <dgm:pt modelId="{AF2AEC88-9823-4D2E-B84A-51AD7FCC419A}" type="pres">
      <dgm:prSet presAssocID="{D4D8EAB5-71A6-465A-A6A5-92CB4DE80787}" presName="text2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B264A5-29E5-423F-974A-49B680BDC85E}" type="pres">
      <dgm:prSet presAssocID="{D4D8EAB5-71A6-465A-A6A5-92CB4DE80787}" presName="line2" presStyleLbl="callout" presStyleIdx="2" presStyleCnt="6"/>
      <dgm:spPr/>
    </dgm:pt>
    <dgm:pt modelId="{BA51A751-A4AF-44E3-95E1-D0E51A536465}" type="pres">
      <dgm:prSet presAssocID="{D4D8EAB5-71A6-465A-A6A5-92CB4DE80787}" presName="d2" presStyleLbl="callout" presStyleIdx="3" presStyleCnt="6"/>
      <dgm:spPr/>
    </dgm:pt>
    <dgm:pt modelId="{7989B965-D035-4416-A2BF-267693FA3CCA}" type="pres">
      <dgm:prSet presAssocID="{A186E3B5-7B36-4B81-B891-C9709B5DC5F3}" presName="circle3" presStyleLbl="lnNode1" presStyleIdx="2" presStyleCnt="3"/>
      <dgm:spPr/>
    </dgm:pt>
    <dgm:pt modelId="{E54CA0CA-F452-4ED9-B4E5-19E22DD0E90A}" type="pres">
      <dgm:prSet presAssocID="{A186E3B5-7B36-4B81-B891-C9709B5DC5F3}" presName="text3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2D6D48-63E0-4685-94B5-F487DA5E3061}" type="pres">
      <dgm:prSet presAssocID="{A186E3B5-7B36-4B81-B891-C9709B5DC5F3}" presName="line3" presStyleLbl="callout" presStyleIdx="4" presStyleCnt="6"/>
      <dgm:spPr/>
    </dgm:pt>
    <dgm:pt modelId="{F2D99AB1-2E4F-4881-BDA1-AF451D85B0E5}" type="pres">
      <dgm:prSet presAssocID="{A186E3B5-7B36-4B81-B891-C9709B5DC5F3}" presName="d3" presStyleLbl="callout" presStyleIdx="5" presStyleCnt="6"/>
      <dgm:spPr/>
    </dgm:pt>
  </dgm:ptLst>
  <dgm:cxnLst>
    <dgm:cxn modelId="{58BFA844-E037-4087-9487-DF09DC3A0C3A}" type="presOf" srcId="{D4D8EAB5-71A6-465A-A6A5-92CB4DE80787}" destId="{AF2AEC88-9823-4D2E-B84A-51AD7FCC419A}" srcOrd="0" destOrd="0" presId="urn:microsoft.com/office/officeart/2005/8/layout/target1"/>
    <dgm:cxn modelId="{5671276F-4B2F-47F5-9CE7-DFB3398320B1}" srcId="{6291D531-DF2A-41D1-90D8-8FF139145D06}" destId="{A186E3B5-7B36-4B81-B891-C9709B5DC5F3}" srcOrd="2" destOrd="0" parTransId="{B3B360A3-F3E3-4173-91A7-2CB02702DC63}" sibTransId="{255019EB-AB39-4D1E-B9AB-B258E68265FD}"/>
    <dgm:cxn modelId="{85BAEF7C-A792-4260-8B18-8570811D12EB}" type="presOf" srcId="{2FF0EAAD-3A9F-422B-A8CA-28710EA2C79F}" destId="{FA624259-F708-40EE-AE92-B9021F23B50E}" srcOrd="0" destOrd="0" presId="urn:microsoft.com/office/officeart/2005/8/layout/target1"/>
    <dgm:cxn modelId="{99278A9A-8E75-45A3-97F2-EE42618AF4C3}" srcId="{6291D531-DF2A-41D1-90D8-8FF139145D06}" destId="{2FF0EAAD-3A9F-422B-A8CA-28710EA2C79F}" srcOrd="0" destOrd="0" parTransId="{6559FC0F-F1FA-45BF-BFD6-398F1EEDEEFA}" sibTransId="{76FE5466-AED0-4C5C-9DC5-ADE3AE076844}"/>
    <dgm:cxn modelId="{6A954621-AEE1-4056-877E-1A75B25AE853}" type="presOf" srcId="{6291D531-DF2A-41D1-90D8-8FF139145D06}" destId="{DF9D9B57-A61D-46B8-AAAE-B6C5C00CC27D}" srcOrd="0" destOrd="0" presId="urn:microsoft.com/office/officeart/2005/8/layout/target1"/>
    <dgm:cxn modelId="{FBB779D8-262D-48FC-8B98-FB0820B154D9}" type="presOf" srcId="{A186E3B5-7B36-4B81-B891-C9709B5DC5F3}" destId="{E54CA0CA-F452-4ED9-B4E5-19E22DD0E90A}" srcOrd="0" destOrd="0" presId="urn:microsoft.com/office/officeart/2005/8/layout/target1"/>
    <dgm:cxn modelId="{B93770E3-463F-4E49-B9EF-4DAB68FE4C1C}" srcId="{6291D531-DF2A-41D1-90D8-8FF139145D06}" destId="{D4D8EAB5-71A6-465A-A6A5-92CB4DE80787}" srcOrd="1" destOrd="0" parTransId="{A76DA35B-0518-4275-BB5B-545CA30C7064}" sibTransId="{76D8B689-0311-4D00-AFA1-08A0884A0AE3}"/>
    <dgm:cxn modelId="{B9894838-1A1D-4C35-B19B-A80E858D92D0}" type="presParOf" srcId="{DF9D9B57-A61D-46B8-AAAE-B6C5C00CC27D}" destId="{786B59A7-D763-4AC0-B0FA-2F7C66B31A4D}" srcOrd="0" destOrd="0" presId="urn:microsoft.com/office/officeart/2005/8/layout/target1"/>
    <dgm:cxn modelId="{130E0D9C-E273-4F33-957F-9E57E39951AD}" type="presParOf" srcId="{DF9D9B57-A61D-46B8-AAAE-B6C5C00CC27D}" destId="{FA624259-F708-40EE-AE92-B9021F23B50E}" srcOrd="1" destOrd="0" presId="urn:microsoft.com/office/officeart/2005/8/layout/target1"/>
    <dgm:cxn modelId="{7056609A-522A-4C38-B9A5-6BCEE8826BAF}" type="presParOf" srcId="{DF9D9B57-A61D-46B8-AAAE-B6C5C00CC27D}" destId="{E2053EDA-7336-4720-87CE-B4EDE89FCD38}" srcOrd="2" destOrd="0" presId="urn:microsoft.com/office/officeart/2005/8/layout/target1"/>
    <dgm:cxn modelId="{3DD1155B-C961-4181-9FAA-4BDEB4C6E80A}" type="presParOf" srcId="{DF9D9B57-A61D-46B8-AAAE-B6C5C00CC27D}" destId="{E7E1E89F-D798-464B-8F13-1399BF4813E4}" srcOrd="3" destOrd="0" presId="urn:microsoft.com/office/officeart/2005/8/layout/target1"/>
    <dgm:cxn modelId="{6D3E152A-E8A0-4F54-A5BB-DEFD1BBB3A05}" type="presParOf" srcId="{DF9D9B57-A61D-46B8-AAAE-B6C5C00CC27D}" destId="{E7B8AC38-C651-46FD-8494-90A370DE27EE}" srcOrd="4" destOrd="0" presId="urn:microsoft.com/office/officeart/2005/8/layout/target1"/>
    <dgm:cxn modelId="{E5C5BF2B-2C88-4373-957F-4DD3E43B9AE2}" type="presParOf" srcId="{DF9D9B57-A61D-46B8-AAAE-B6C5C00CC27D}" destId="{AF2AEC88-9823-4D2E-B84A-51AD7FCC419A}" srcOrd="5" destOrd="0" presId="urn:microsoft.com/office/officeart/2005/8/layout/target1"/>
    <dgm:cxn modelId="{7A9784EE-FFBA-4261-B7EA-E0E0DAA8224E}" type="presParOf" srcId="{DF9D9B57-A61D-46B8-AAAE-B6C5C00CC27D}" destId="{36B264A5-29E5-423F-974A-49B680BDC85E}" srcOrd="6" destOrd="0" presId="urn:microsoft.com/office/officeart/2005/8/layout/target1"/>
    <dgm:cxn modelId="{30308F25-EEF2-4F42-8963-1C0626A56569}" type="presParOf" srcId="{DF9D9B57-A61D-46B8-AAAE-B6C5C00CC27D}" destId="{BA51A751-A4AF-44E3-95E1-D0E51A536465}" srcOrd="7" destOrd="0" presId="urn:microsoft.com/office/officeart/2005/8/layout/target1"/>
    <dgm:cxn modelId="{FCA948BC-24A2-4AC7-9174-C1273D55D3EF}" type="presParOf" srcId="{DF9D9B57-A61D-46B8-AAAE-B6C5C00CC27D}" destId="{7989B965-D035-4416-A2BF-267693FA3CCA}" srcOrd="8" destOrd="0" presId="urn:microsoft.com/office/officeart/2005/8/layout/target1"/>
    <dgm:cxn modelId="{CB086D3E-8115-490D-9184-FB743014DB22}" type="presParOf" srcId="{DF9D9B57-A61D-46B8-AAAE-B6C5C00CC27D}" destId="{E54CA0CA-F452-4ED9-B4E5-19E22DD0E90A}" srcOrd="9" destOrd="0" presId="urn:microsoft.com/office/officeart/2005/8/layout/target1"/>
    <dgm:cxn modelId="{05172C62-06DD-4DB3-A65B-8CFE02A1EF68}" type="presParOf" srcId="{DF9D9B57-A61D-46B8-AAAE-B6C5C00CC27D}" destId="{9F2D6D48-63E0-4685-94B5-F487DA5E3061}" srcOrd="10" destOrd="0" presId="urn:microsoft.com/office/officeart/2005/8/layout/target1"/>
    <dgm:cxn modelId="{2DE98769-E5AF-4BD7-A45A-031C0885C58B}" type="presParOf" srcId="{DF9D9B57-A61D-46B8-AAAE-B6C5C00CC27D}" destId="{F2D99AB1-2E4F-4881-BDA1-AF451D85B0E5}" srcOrd="11" destOrd="0" presId="urn:microsoft.com/office/officeart/2005/8/layout/targe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DE8F7A-F0DA-4DAD-B480-4AA74C74E193}">
      <dsp:nvSpPr>
        <dsp:cNvPr id="0" name=""/>
        <dsp:cNvSpPr/>
      </dsp:nvSpPr>
      <dsp:spPr>
        <a:xfrm>
          <a:off x="0" y="0"/>
          <a:ext cx="6324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E17F9D-E259-43B0-94CC-1BAFDF4B6B46}">
      <dsp:nvSpPr>
        <dsp:cNvPr id="0" name=""/>
        <dsp:cNvSpPr/>
      </dsp:nvSpPr>
      <dsp:spPr>
        <a:xfrm>
          <a:off x="0" y="0"/>
          <a:ext cx="6324600" cy="8463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7640" tIns="167640" rIns="167640" bIns="167640" numCol="1" spcCol="1270" anchor="t" anchorCtr="0">
          <a:noAutofit/>
        </a:bodyPr>
        <a:lstStyle/>
        <a:p>
          <a:pPr lvl="0" algn="ctr" defTabSz="1955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400" b="0" kern="1200" dirty="0" smtClean="0">
              <a:latin typeface="+mj-lt"/>
            </a:rPr>
            <a:t>A Unique Vision</a:t>
          </a:r>
          <a:endParaRPr lang="en-US" sz="4400" b="0" kern="1200" dirty="0">
            <a:latin typeface="+mj-lt"/>
          </a:endParaRPr>
        </a:p>
      </dsp:txBody>
      <dsp:txXfrm>
        <a:off x="0" y="0"/>
        <a:ext cx="6324600" cy="846385"/>
      </dsp:txXfrm>
    </dsp:sp>
    <dsp:sp modelId="{F7543B1B-3626-4CD7-8031-98BE84770BDE}">
      <dsp:nvSpPr>
        <dsp:cNvPr id="0" name=""/>
        <dsp:cNvSpPr/>
      </dsp:nvSpPr>
      <dsp:spPr>
        <a:xfrm>
          <a:off x="0" y="846385"/>
          <a:ext cx="6324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BA866B-F2A8-43A6-BB26-8EFB145E0E28}">
      <dsp:nvSpPr>
        <dsp:cNvPr id="0" name=""/>
        <dsp:cNvSpPr/>
      </dsp:nvSpPr>
      <dsp:spPr>
        <a:xfrm>
          <a:off x="0" y="846385"/>
          <a:ext cx="6324600" cy="8463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846385"/>
        <a:ext cx="6324600" cy="84638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B9FDE2-9F58-4F1E-890E-93D91EF61022}">
      <dsp:nvSpPr>
        <dsp:cNvPr id="0" name=""/>
        <dsp:cNvSpPr/>
      </dsp:nvSpPr>
      <dsp:spPr>
        <a:xfrm>
          <a:off x="0" y="558"/>
          <a:ext cx="8153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5DC5A0-EAF1-4E27-BC25-5B0FFD449B01}">
      <dsp:nvSpPr>
        <dsp:cNvPr id="0" name=""/>
        <dsp:cNvSpPr/>
      </dsp:nvSpPr>
      <dsp:spPr>
        <a:xfrm>
          <a:off x="0" y="558"/>
          <a:ext cx="8153400" cy="9141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BEE and the insulation industry leaders have collaborated together for the establishment of "India Insulation Forum (IIF)“ in 2013. </a:t>
          </a:r>
          <a:endParaRPr lang="en-US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558"/>
        <a:ext cx="8153400" cy="914176"/>
      </dsp:txXfrm>
    </dsp:sp>
    <dsp:sp modelId="{15061ADE-652A-4B56-AA3D-C7E868AA11D8}">
      <dsp:nvSpPr>
        <dsp:cNvPr id="0" name=""/>
        <dsp:cNvSpPr/>
      </dsp:nvSpPr>
      <dsp:spPr>
        <a:xfrm>
          <a:off x="0" y="914734"/>
          <a:ext cx="8153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5C93F4-3CA4-4FC7-B3AC-ECC4B9FFE69A}">
      <dsp:nvSpPr>
        <dsp:cNvPr id="0" name=""/>
        <dsp:cNvSpPr/>
      </dsp:nvSpPr>
      <dsp:spPr>
        <a:xfrm>
          <a:off x="0" y="914734"/>
          <a:ext cx="8153400" cy="9141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The objective of IIF is to enhance awareness of using thermal insulation in building envelope and cold chain industry for energy conservation.</a:t>
          </a:r>
          <a:endParaRPr lang="en-US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914734"/>
        <a:ext cx="8153400" cy="914176"/>
      </dsp:txXfrm>
    </dsp:sp>
    <dsp:sp modelId="{93DC4F69-84A2-4195-BBA8-007F9C5D219B}">
      <dsp:nvSpPr>
        <dsp:cNvPr id="0" name=""/>
        <dsp:cNvSpPr/>
      </dsp:nvSpPr>
      <dsp:spPr>
        <a:xfrm>
          <a:off x="0" y="1828911"/>
          <a:ext cx="8153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9A557E-495A-4A28-B971-D47ED6F0E1A4}">
      <dsp:nvSpPr>
        <dsp:cNvPr id="0" name=""/>
        <dsp:cNvSpPr/>
      </dsp:nvSpPr>
      <dsp:spPr>
        <a:xfrm>
          <a:off x="0" y="1828911"/>
          <a:ext cx="8153400" cy="9141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IIF also coordinate advocacy activities with Government bodies &amp; nodal agencies. </a:t>
          </a:r>
          <a:endParaRPr lang="en-US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1828911"/>
        <a:ext cx="8153400" cy="914176"/>
      </dsp:txXfrm>
    </dsp:sp>
    <dsp:sp modelId="{C206A61E-C275-4547-8F53-E892198650E5}">
      <dsp:nvSpPr>
        <dsp:cNvPr id="0" name=""/>
        <dsp:cNvSpPr/>
      </dsp:nvSpPr>
      <dsp:spPr>
        <a:xfrm>
          <a:off x="0" y="2743088"/>
          <a:ext cx="8153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70575C-1800-4920-9B94-961BE62F4524}">
      <dsp:nvSpPr>
        <dsp:cNvPr id="0" name=""/>
        <dsp:cNvSpPr/>
      </dsp:nvSpPr>
      <dsp:spPr>
        <a:xfrm>
          <a:off x="0" y="2712719"/>
          <a:ext cx="8153400" cy="9141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IIF is represented by reputed companies making modern insulation materials used for energy efficiency in Buildings.</a:t>
          </a:r>
          <a:endParaRPr lang="en-US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2712719"/>
        <a:ext cx="8153400" cy="914176"/>
      </dsp:txXfrm>
    </dsp:sp>
    <dsp:sp modelId="{7A37FBCE-D10C-4D95-9F90-A35FBC11879D}">
      <dsp:nvSpPr>
        <dsp:cNvPr id="0" name=""/>
        <dsp:cNvSpPr/>
      </dsp:nvSpPr>
      <dsp:spPr>
        <a:xfrm>
          <a:off x="0" y="3657265"/>
          <a:ext cx="81534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0159BC-22F1-4DA2-B988-FFFF7ACD447D}">
      <dsp:nvSpPr>
        <dsp:cNvPr id="0" name=""/>
        <dsp:cNvSpPr/>
      </dsp:nvSpPr>
      <dsp:spPr>
        <a:xfrm>
          <a:off x="0" y="3657823"/>
          <a:ext cx="8153400" cy="9141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The IIF membership is open to all concerned with building insulation, beginning with raw material suppliers, applicators, builders &amp; contractors, architects, regulators &amp; consumers.</a:t>
          </a:r>
          <a:endParaRPr lang="en-US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3657823"/>
        <a:ext cx="8153400" cy="91417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1B4F1F-AA92-47E0-A88B-BCE8A7326CA9}">
      <dsp:nvSpPr>
        <dsp:cNvPr id="0" name=""/>
        <dsp:cNvSpPr/>
      </dsp:nvSpPr>
      <dsp:spPr>
        <a:xfrm>
          <a:off x="16440" y="917318"/>
          <a:ext cx="2597365" cy="218169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top heat / cold ingress from outside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aves on fossil fuel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Reduces emission of GHG.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Lower energy losses; avoid the danger of oversized heating or cooling systems that works  hard to compensate for the heat or cold losses through the building envelope.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7560" y="968438"/>
        <a:ext cx="2495125" cy="2130578"/>
      </dsp:txXfrm>
    </dsp:sp>
    <dsp:sp modelId="{411C7337-A283-4CB7-A096-725ADDD5B463}">
      <dsp:nvSpPr>
        <dsp:cNvPr id="0" name=""/>
        <dsp:cNvSpPr/>
      </dsp:nvSpPr>
      <dsp:spPr>
        <a:xfrm>
          <a:off x="7510" y="3083946"/>
          <a:ext cx="2615224" cy="7927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0" rIns="22860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Environmental</a:t>
          </a: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510" y="3083946"/>
        <a:ext cx="1841707" cy="792724"/>
      </dsp:txXfrm>
    </dsp:sp>
    <dsp:sp modelId="{99BBBC70-A6ED-4832-8FBC-321309E79EE9}">
      <dsp:nvSpPr>
        <dsp:cNvPr id="0" name=""/>
        <dsp:cNvSpPr/>
      </dsp:nvSpPr>
      <dsp:spPr>
        <a:xfrm>
          <a:off x="1860780" y="3223319"/>
          <a:ext cx="821371" cy="821371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000" b="-2000"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B2A0C5-6459-4F2A-A443-FCF57BA752E8}">
      <dsp:nvSpPr>
        <dsp:cNvPr id="0" name=""/>
        <dsp:cNvSpPr/>
      </dsp:nvSpPr>
      <dsp:spPr>
        <a:xfrm>
          <a:off x="2895604" y="1143009"/>
          <a:ext cx="2346776" cy="1959059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Effective insulation lowers heating or cooling bills, thus no longer being affected by rising energy costs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intains controlled temp. for longer periods.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941507" y="1188912"/>
        <a:ext cx="2254970" cy="1913156"/>
      </dsp:txXfrm>
    </dsp:sp>
    <dsp:sp modelId="{85B3DF27-002D-4754-92E0-5632FAD612C5}">
      <dsp:nvSpPr>
        <dsp:cNvPr id="0" name=""/>
        <dsp:cNvSpPr/>
      </dsp:nvSpPr>
      <dsp:spPr>
        <a:xfrm>
          <a:off x="2885642" y="3048007"/>
          <a:ext cx="2365668" cy="75328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0" rIns="22860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Economical</a:t>
          </a: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85642" y="3048007"/>
        <a:ext cx="1665963" cy="753282"/>
      </dsp:txXfrm>
    </dsp:sp>
    <dsp:sp modelId="{D6D44A08-34FE-4B9E-A416-FA043AE74905}">
      <dsp:nvSpPr>
        <dsp:cNvPr id="0" name=""/>
        <dsp:cNvSpPr/>
      </dsp:nvSpPr>
      <dsp:spPr>
        <a:xfrm>
          <a:off x="4614133" y="3167659"/>
          <a:ext cx="821371" cy="821371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9DF036C-45B7-4A57-BA15-6AD099CE7F1D}">
      <dsp:nvSpPr>
        <dsp:cNvPr id="0" name=""/>
        <dsp:cNvSpPr/>
      </dsp:nvSpPr>
      <dsp:spPr>
        <a:xfrm>
          <a:off x="5638795" y="1219196"/>
          <a:ext cx="2346776" cy="1906364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Human Comfort – improves the efficiency of occupier/user.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ovides fungus-free and microbe-free healthier environ, due to absence of cold walls</a:t>
          </a:r>
          <a:endParaRPr lang="en-US" sz="12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683463" y="1263864"/>
        <a:ext cx="2257440" cy="1861696"/>
      </dsp:txXfrm>
    </dsp:sp>
    <dsp:sp modelId="{C3F0629B-C7D0-4C50-81F1-F43C8C138478}">
      <dsp:nvSpPr>
        <dsp:cNvPr id="0" name=""/>
        <dsp:cNvSpPr/>
      </dsp:nvSpPr>
      <dsp:spPr>
        <a:xfrm>
          <a:off x="5638807" y="3052355"/>
          <a:ext cx="2432128" cy="75328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0" rIns="22860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Social </a:t>
          </a: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638807" y="3052355"/>
        <a:ext cx="1712766" cy="753282"/>
      </dsp:txXfrm>
    </dsp:sp>
    <dsp:sp modelId="{C837CD8B-F254-462B-AC54-6915153E214E}">
      <dsp:nvSpPr>
        <dsp:cNvPr id="0" name=""/>
        <dsp:cNvSpPr/>
      </dsp:nvSpPr>
      <dsp:spPr>
        <a:xfrm>
          <a:off x="7400717" y="3154486"/>
          <a:ext cx="821371" cy="821371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44E81A-751D-42F0-A2B1-CBFCA4693C74}">
      <dsp:nvSpPr>
        <dsp:cNvPr id="0" name=""/>
        <dsp:cNvSpPr/>
      </dsp:nvSpPr>
      <dsp:spPr>
        <a:xfrm>
          <a:off x="2890498" y="2194718"/>
          <a:ext cx="547099" cy="10424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73549" y="0"/>
              </a:lnTo>
              <a:lnTo>
                <a:pt x="273549" y="1042491"/>
              </a:lnTo>
              <a:lnTo>
                <a:pt x="547099" y="104249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134614" y="2686530"/>
        <a:ext cx="58866" cy="58866"/>
      </dsp:txXfrm>
    </dsp:sp>
    <dsp:sp modelId="{BE608B09-E984-40D7-8501-B01B7C426F21}">
      <dsp:nvSpPr>
        <dsp:cNvPr id="0" name=""/>
        <dsp:cNvSpPr/>
      </dsp:nvSpPr>
      <dsp:spPr>
        <a:xfrm>
          <a:off x="2890498" y="2148998"/>
          <a:ext cx="54709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47099" y="4572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150370" y="2181041"/>
        <a:ext cx="27354" cy="27354"/>
      </dsp:txXfrm>
    </dsp:sp>
    <dsp:sp modelId="{945E5878-55E8-4E3A-A711-8E081B7B0F7C}">
      <dsp:nvSpPr>
        <dsp:cNvPr id="0" name=""/>
        <dsp:cNvSpPr/>
      </dsp:nvSpPr>
      <dsp:spPr>
        <a:xfrm>
          <a:off x="2890498" y="1152227"/>
          <a:ext cx="547099" cy="1042491"/>
        </a:xfrm>
        <a:custGeom>
          <a:avLst/>
          <a:gdLst/>
          <a:ahLst/>
          <a:cxnLst/>
          <a:rect l="0" t="0" r="0" b="0"/>
          <a:pathLst>
            <a:path>
              <a:moveTo>
                <a:pt x="0" y="1042491"/>
              </a:moveTo>
              <a:lnTo>
                <a:pt x="273549" y="1042491"/>
              </a:lnTo>
              <a:lnTo>
                <a:pt x="273549" y="0"/>
              </a:lnTo>
              <a:lnTo>
                <a:pt x="547099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134614" y="1644039"/>
        <a:ext cx="58866" cy="58866"/>
      </dsp:txXfrm>
    </dsp:sp>
    <dsp:sp modelId="{8A27DEA8-46F2-483D-8566-4525E0D315B8}">
      <dsp:nvSpPr>
        <dsp:cNvPr id="0" name=""/>
        <dsp:cNvSpPr/>
      </dsp:nvSpPr>
      <dsp:spPr>
        <a:xfrm rot="16200000">
          <a:off x="278783" y="1777721"/>
          <a:ext cx="4389437" cy="8339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Committee</a:t>
          </a:r>
          <a:endParaRPr lang="en-US" sz="2400" kern="1200" dirty="0"/>
        </a:p>
      </dsp:txBody>
      <dsp:txXfrm>
        <a:off x="278783" y="1777721"/>
        <a:ext cx="4389437" cy="833993"/>
      </dsp:txXfrm>
    </dsp:sp>
    <dsp:sp modelId="{F9A8585A-FFEC-429F-A577-354D60648343}">
      <dsp:nvSpPr>
        <dsp:cNvPr id="0" name=""/>
        <dsp:cNvSpPr/>
      </dsp:nvSpPr>
      <dsp:spPr>
        <a:xfrm>
          <a:off x="3437597" y="735230"/>
          <a:ext cx="2735497" cy="8339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Delhi Chapter</a:t>
          </a:r>
          <a:endParaRPr lang="en-US" sz="2400" kern="1200" dirty="0"/>
        </a:p>
      </dsp:txBody>
      <dsp:txXfrm>
        <a:off x="3437597" y="735230"/>
        <a:ext cx="2735497" cy="833993"/>
      </dsp:txXfrm>
    </dsp:sp>
    <dsp:sp modelId="{353E07A3-FE35-484C-8321-81A5C80D23D8}">
      <dsp:nvSpPr>
        <dsp:cNvPr id="0" name=""/>
        <dsp:cNvSpPr/>
      </dsp:nvSpPr>
      <dsp:spPr>
        <a:xfrm>
          <a:off x="3437597" y="1777721"/>
          <a:ext cx="2735497" cy="8339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Mumbai Chapter</a:t>
          </a:r>
          <a:endParaRPr lang="en-US" sz="2400" kern="1200" dirty="0"/>
        </a:p>
      </dsp:txBody>
      <dsp:txXfrm>
        <a:off x="3437597" y="1777721"/>
        <a:ext cx="2735497" cy="833993"/>
      </dsp:txXfrm>
    </dsp:sp>
    <dsp:sp modelId="{038F6D4F-C71A-4CDC-890B-7CB2D2B2427F}">
      <dsp:nvSpPr>
        <dsp:cNvPr id="0" name=""/>
        <dsp:cNvSpPr/>
      </dsp:nvSpPr>
      <dsp:spPr>
        <a:xfrm>
          <a:off x="3437597" y="2820213"/>
          <a:ext cx="2735497" cy="8339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Chennai Chapter</a:t>
          </a:r>
          <a:endParaRPr lang="en-US" sz="2400" kern="1200" dirty="0"/>
        </a:p>
      </dsp:txBody>
      <dsp:txXfrm>
        <a:off x="3437597" y="2820213"/>
        <a:ext cx="2735497" cy="83399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9F757A-CE74-4A8B-84D9-DD7921CDF877}">
      <dsp:nvSpPr>
        <dsp:cNvPr id="0" name=""/>
        <dsp:cNvSpPr/>
      </dsp:nvSpPr>
      <dsp:spPr>
        <a:xfrm>
          <a:off x="90217" y="393589"/>
          <a:ext cx="8201565" cy="1192737"/>
        </a:xfrm>
        <a:prstGeom prst="rightArrow">
          <a:avLst>
            <a:gd name="adj1" fmla="val 50000"/>
            <a:gd name="adj2" fmla="val 5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254000" bIns="189347" numCol="1" spcCol="1270" anchor="ctr" anchorCtr="0">
          <a:noAutofit/>
        </a:bodyPr>
        <a:lstStyle/>
        <a:p>
          <a:pPr lvl="0" algn="l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>
              <a:latin typeface="+mj-lt"/>
              <a:cs typeface="Arial" panose="020B0604020202020204" pitchFamily="34" charset="0"/>
            </a:rPr>
            <a:t>Membership  (Bayer </a:t>
          </a:r>
          <a:r>
            <a:rPr lang="en-US" sz="1050" kern="1200" dirty="0" err="1" smtClean="0">
              <a:latin typeface="+mj-lt"/>
              <a:cs typeface="Arial" panose="020B0604020202020204" pitchFamily="34" charset="0"/>
            </a:rPr>
            <a:t>MaterialScience</a:t>
          </a:r>
          <a:r>
            <a:rPr lang="en-US" sz="1050" kern="1200" dirty="0" smtClean="0">
              <a:latin typeface="+mj-lt"/>
              <a:cs typeface="Arial" panose="020B0604020202020204" pitchFamily="34" charset="0"/>
            </a:rPr>
            <a:t>, </a:t>
          </a:r>
          <a:r>
            <a:rPr lang="en-US" sz="1050" kern="1200" dirty="0" err="1" smtClean="0">
              <a:latin typeface="+mj-lt"/>
              <a:cs typeface="Arial" panose="020B0604020202020204" pitchFamily="34" charset="0"/>
            </a:rPr>
            <a:t>Isofoam</a:t>
          </a:r>
          <a:r>
            <a:rPr lang="en-US" sz="1050" kern="1200" dirty="0" smtClean="0">
              <a:latin typeface="+mj-lt"/>
              <a:cs typeface="Arial" panose="020B0604020202020204" pitchFamily="34" charset="0"/>
            </a:rPr>
            <a:t>)</a:t>
          </a:r>
          <a:endParaRPr lang="en-US" sz="1050" kern="1200" dirty="0">
            <a:latin typeface="+mj-lt"/>
            <a:cs typeface="Arial" panose="020B0604020202020204" pitchFamily="34" charset="0"/>
          </a:endParaRPr>
        </a:p>
      </dsp:txBody>
      <dsp:txXfrm>
        <a:off x="90217" y="691773"/>
        <a:ext cx="7903381" cy="596369"/>
      </dsp:txXfrm>
    </dsp:sp>
    <dsp:sp modelId="{E773029C-B4A5-4165-8044-E02F161C0E92}">
      <dsp:nvSpPr>
        <dsp:cNvPr id="0" name=""/>
        <dsp:cNvSpPr/>
      </dsp:nvSpPr>
      <dsp:spPr>
        <a:xfrm>
          <a:off x="90217" y="1311822"/>
          <a:ext cx="1515813" cy="2190057"/>
        </a:xfrm>
        <a:prstGeom prst="rect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Clear Benefit Statement</a:t>
          </a:r>
        </a:p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Opening of Western Region Chapter</a:t>
          </a:r>
        </a:p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Pending Creation of Advisory Board</a:t>
          </a:r>
        </a:p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Opening of Southern Region Chapter</a:t>
          </a:r>
        </a:p>
      </dsp:txBody>
      <dsp:txXfrm>
        <a:off x="90217" y="1311822"/>
        <a:ext cx="1515813" cy="2190057"/>
      </dsp:txXfrm>
    </dsp:sp>
    <dsp:sp modelId="{ABCEB821-6A47-4656-8061-A1741588768A}">
      <dsp:nvSpPr>
        <dsp:cNvPr id="0" name=""/>
        <dsp:cNvSpPr/>
      </dsp:nvSpPr>
      <dsp:spPr>
        <a:xfrm>
          <a:off x="1605866" y="791322"/>
          <a:ext cx="6685916" cy="1192737"/>
        </a:xfrm>
        <a:prstGeom prst="rightArrow">
          <a:avLst>
            <a:gd name="adj1" fmla="val 50000"/>
            <a:gd name="adj2" fmla="val 5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254000" bIns="189347" numCol="1" spcCol="1270" anchor="ctr" anchorCtr="0">
          <a:noAutofit/>
        </a:bodyPr>
        <a:lstStyle/>
        <a:p>
          <a:pPr lvl="0" algn="l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>
              <a:latin typeface="+mj-lt"/>
              <a:cs typeface="Arial" panose="020B0604020202020204" pitchFamily="34" charset="0"/>
            </a:rPr>
            <a:t>Nationwide seminars/webinars every quarter (Lloyd Insulations, IPUA)</a:t>
          </a:r>
          <a:endParaRPr lang="en-US" sz="1050" kern="1200" dirty="0">
            <a:latin typeface="+mj-lt"/>
            <a:cs typeface="Arial" panose="020B0604020202020204" pitchFamily="34" charset="0"/>
          </a:endParaRPr>
        </a:p>
      </dsp:txBody>
      <dsp:txXfrm>
        <a:off x="1605866" y="1089506"/>
        <a:ext cx="6387732" cy="596369"/>
      </dsp:txXfrm>
    </dsp:sp>
    <dsp:sp modelId="{DEB1C807-BF09-4D14-AF65-7416298C0609}">
      <dsp:nvSpPr>
        <dsp:cNvPr id="0" name=""/>
        <dsp:cNvSpPr/>
      </dsp:nvSpPr>
      <dsp:spPr>
        <a:xfrm>
          <a:off x="1605866" y="1709555"/>
          <a:ext cx="1515813" cy="2190057"/>
        </a:xfrm>
        <a:prstGeom prst="rect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Alignment with IIA</a:t>
          </a:r>
          <a:endParaRPr lang="en-US" sz="1300" kern="1200" dirty="0">
            <a:latin typeface="+mj-lt"/>
            <a:cs typeface="Arial" panose="020B0604020202020204" pitchFamily="34" charset="0"/>
          </a:endParaRPr>
        </a:p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MOU with IGBC</a:t>
          </a:r>
          <a:endParaRPr lang="en-US" sz="1300" kern="1200" dirty="0">
            <a:latin typeface="+mj-lt"/>
            <a:cs typeface="Arial" panose="020B0604020202020204" pitchFamily="34" charset="0"/>
          </a:endParaRPr>
        </a:p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Utilization of BEE SDA</a:t>
          </a:r>
          <a:endParaRPr lang="en-US" sz="1300" kern="1200" dirty="0">
            <a:latin typeface="+mj-lt"/>
            <a:cs typeface="Arial" panose="020B0604020202020204" pitchFamily="34" charset="0"/>
          </a:endParaRPr>
        </a:p>
      </dsp:txBody>
      <dsp:txXfrm>
        <a:off x="1605866" y="1709555"/>
        <a:ext cx="1515813" cy="2190057"/>
      </dsp:txXfrm>
    </dsp:sp>
    <dsp:sp modelId="{8F71449D-4DF9-4217-9936-ED15CDC6C6AA}">
      <dsp:nvSpPr>
        <dsp:cNvPr id="0" name=""/>
        <dsp:cNvSpPr/>
      </dsp:nvSpPr>
      <dsp:spPr>
        <a:xfrm>
          <a:off x="3121515" y="1189054"/>
          <a:ext cx="5170266" cy="1192737"/>
        </a:xfrm>
        <a:prstGeom prst="rightArrow">
          <a:avLst>
            <a:gd name="adj1" fmla="val 50000"/>
            <a:gd name="adj2" fmla="val 50000"/>
          </a:avLst>
        </a:prstGeom>
        <a:solidFill>
          <a:srgbClr val="FFFF00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254000" bIns="189347" numCol="1" spcCol="1270" anchor="ctr" anchorCtr="0">
          <a:noAutofit/>
        </a:bodyPr>
        <a:lstStyle/>
        <a:p>
          <a:pPr lvl="0" algn="l" defTabSz="466725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rPr>
            <a:t>Website of tools and case studies  (Owens Corning, Bayer </a:t>
          </a:r>
          <a:r>
            <a:rPr lang="en-US" sz="1050" kern="1200" dirty="0" err="1" smtClean="0">
              <a:solidFill>
                <a:srgbClr val="FF0000"/>
              </a:solidFill>
              <a:latin typeface="+mj-lt"/>
              <a:cs typeface="Arial" panose="020B0604020202020204" pitchFamily="34" charset="0"/>
            </a:rPr>
            <a:t>MaterialScience</a:t>
          </a:r>
          <a:r>
            <a:rPr lang="en-US" sz="1050" kern="1200" dirty="0" smtClean="0">
              <a:solidFill>
                <a:srgbClr val="FF0000"/>
              </a:solidFill>
              <a:latin typeface="+mj-lt"/>
              <a:cs typeface="Arial" panose="020B0604020202020204" pitchFamily="34" charset="0"/>
            </a:rPr>
            <a:t>)</a:t>
          </a:r>
          <a:endParaRPr lang="en-US" sz="1050" kern="1200" dirty="0">
            <a:solidFill>
              <a:srgbClr val="FF0000"/>
            </a:solidFill>
            <a:latin typeface="+mj-lt"/>
            <a:cs typeface="Arial" panose="020B0604020202020204" pitchFamily="34" charset="0"/>
          </a:endParaRPr>
        </a:p>
      </dsp:txBody>
      <dsp:txXfrm>
        <a:off x="3121515" y="1487238"/>
        <a:ext cx="4872082" cy="596369"/>
      </dsp:txXfrm>
    </dsp:sp>
    <dsp:sp modelId="{C350DAC5-D7F8-4C0B-BB28-2B0531D65521}">
      <dsp:nvSpPr>
        <dsp:cNvPr id="0" name=""/>
        <dsp:cNvSpPr/>
      </dsp:nvSpPr>
      <dsp:spPr>
        <a:xfrm>
          <a:off x="3121515" y="2107287"/>
          <a:ext cx="1515813" cy="2190057"/>
        </a:xfrm>
        <a:prstGeom prst="rect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Resource mine</a:t>
          </a:r>
        </a:p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Online Help tools, advisory, calculator</a:t>
          </a:r>
        </a:p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 dirty="0" smtClean="0">
            <a:latin typeface="+mj-lt"/>
            <a:cs typeface="Arial" panose="020B0604020202020204" pitchFamily="34" charset="0"/>
          </a:endParaRPr>
        </a:p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Awareness</a:t>
          </a:r>
          <a:endParaRPr lang="en-US" sz="1300" kern="1200" dirty="0">
            <a:latin typeface="+mj-lt"/>
            <a:cs typeface="Arial" panose="020B0604020202020204" pitchFamily="34" charset="0"/>
          </a:endParaRPr>
        </a:p>
      </dsp:txBody>
      <dsp:txXfrm>
        <a:off x="3121515" y="2107287"/>
        <a:ext cx="1515813" cy="2190057"/>
      </dsp:txXfrm>
    </dsp:sp>
    <dsp:sp modelId="{3CDD10AA-8597-4B53-90DC-BFBA76472FC7}">
      <dsp:nvSpPr>
        <dsp:cNvPr id="0" name=""/>
        <dsp:cNvSpPr/>
      </dsp:nvSpPr>
      <dsp:spPr>
        <a:xfrm>
          <a:off x="4637985" y="1586787"/>
          <a:ext cx="3653797" cy="1192737"/>
        </a:xfrm>
        <a:prstGeom prst="rightArrow">
          <a:avLst>
            <a:gd name="adj1" fmla="val 50000"/>
            <a:gd name="adj2" fmla="val 5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254000" bIns="189347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latin typeface="+mj-lt"/>
              <a:cs typeface="Arial" panose="020B0604020202020204" pitchFamily="34" charset="0"/>
            </a:rPr>
            <a:t>Insulation Materials Testing Facilitation Program (Lloyd Insulations, Supreme Petrochem) </a:t>
          </a:r>
          <a:endParaRPr lang="en-US" sz="1100" kern="1200" dirty="0">
            <a:latin typeface="+mj-lt"/>
            <a:cs typeface="Arial" panose="020B0604020202020204" pitchFamily="34" charset="0"/>
          </a:endParaRPr>
        </a:p>
      </dsp:txBody>
      <dsp:txXfrm>
        <a:off x="4637985" y="1884971"/>
        <a:ext cx="3355613" cy="596369"/>
      </dsp:txXfrm>
    </dsp:sp>
    <dsp:sp modelId="{78E76692-008A-472C-95C1-6B2E182A98C8}">
      <dsp:nvSpPr>
        <dsp:cNvPr id="0" name=""/>
        <dsp:cNvSpPr/>
      </dsp:nvSpPr>
      <dsp:spPr>
        <a:xfrm>
          <a:off x="4637985" y="2505020"/>
          <a:ext cx="1515813" cy="2190057"/>
        </a:xfrm>
        <a:prstGeom prst="rect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Any NABL-approved lab tie up </a:t>
          </a:r>
          <a:endParaRPr lang="en-US" sz="1300" kern="1200" dirty="0">
            <a:latin typeface="+mj-lt"/>
            <a:cs typeface="Arial" panose="020B0604020202020204" pitchFamily="34" charset="0"/>
          </a:endParaRPr>
        </a:p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Time –bound discounts</a:t>
          </a:r>
          <a:endParaRPr lang="en-US" sz="1300" kern="1200" dirty="0">
            <a:latin typeface="+mj-lt"/>
            <a:cs typeface="Arial" panose="020B0604020202020204" pitchFamily="34" charset="0"/>
          </a:endParaRPr>
        </a:p>
      </dsp:txBody>
      <dsp:txXfrm>
        <a:off x="4637985" y="2505020"/>
        <a:ext cx="1515813" cy="2190057"/>
      </dsp:txXfrm>
    </dsp:sp>
    <dsp:sp modelId="{3F52C1AD-E7C8-4898-A436-1EC0B9807EF8}">
      <dsp:nvSpPr>
        <dsp:cNvPr id="0" name=""/>
        <dsp:cNvSpPr/>
      </dsp:nvSpPr>
      <dsp:spPr>
        <a:xfrm>
          <a:off x="6153634" y="1984519"/>
          <a:ext cx="2138148" cy="1192737"/>
        </a:xfrm>
        <a:prstGeom prst="rightArrow">
          <a:avLst>
            <a:gd name="adj1" fmla="val 50000"/>
            <a:gd name="adj2" fmla="val 5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254000" bIns="189347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latin typeface="+mj-lt"/>
              <a:cs typeface="Arial" panose="020B0604020202020204" pitchFamily="34" charset="0"/>
            </a:rPr>
            <a:t>Program for Applicator Capacity Building (Lloyd Ins, Owens Corning)</a:t>
          </a:r>
          <a:endParaRPr lang="en-US" sz="1100" kern="1200" dirty="0">
            <a:latin typeface="+mj-lt"/>
            <a:cs typeface="Arial" panose="020B0604020202020204" pitchFamily="34" charset="0"/>
          </a:endParaRPr>
        </a:p>
      </dsp:txBody>
      <dsp:txXfrm>
        <a:off x="6153634" y="2282703"/>
        <a:ext cx="1839964" cy="596369"/>
      </dsp:txXfrm>
    </dsp:sp>
    <dsp:sp modelId="{50B608A3-F756-4B2F-9729-E2F7B30AF147}">
      <dsp:nvSpPr>
        <dsp:cNvPr id="0" name=""/>
        <dsp:cNvSpPr/>
      </dsp:nvSpPr>
      <dsp:spPr>
        <a:xfrm>
          <a:off x="6153634" y="2902752"/>
          <a:ext cx="1515813" cy="2190057"/>
        </a:xfrm>
        <a:prstGeom prst="rect">
          <a:avLst/>
        </a:prstGeom>
        <a:solidFill>
          <a:schemeClr val="l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Partnership with ITI;  to seek inclusion in the curriculum</a:t>
          </a:r>
          <a:endParaRPr lang="en-US" sz="1300" kern="1200" dirty="0">
            <a:latin typeface="+mj-lt"/>
            <a:cs typeface="Arial" panose="020B0604020202020204" pitchFamily="34" charset="0"/>
          </a:endParaRPr>
        </a:p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Certified courses (from BEE, ISOPA)</a:t>
          </a:r>
          <a:endParaRPr lang="en-US" sz="1300" kern="1200" dirty="0">
            <a:latin typeface="+mj-lt"/>
            <a:cs typeface="Arial" panose="020B0604020202020204" pitchFamily="34" charset="0"/>
          </a:endParaRPr>
        </a:p>
        <a:p>
          <a:pPr lvl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latin typeface="+mj-lt"/>
              <a:cs typeface="Arial" panose="020B0604020202020204" pitchFamily="34" charset="0"/>
            </a:rPr>
            <a:t>Quarterly – 1</a:t>
          </a:r>
          <a:r>
            <a:rPr lang="en-US" sz="1300" kern="1200" baseline="30000" dirty="0" smtClean="0">
              <a:latin typeface="+mj-lt"/>
              <a:cs typeface="Arial" panose="020B0604020202020204" pitchFamily="34" charset="0"/>
            </a:rPr>
            <a:t>st</a:t>
          </a:r>
          <a:r>
            <a:rPr lang="en-US" sz="1300" kern="1200" dirty="0" smtClean="0">
              <a:latin typeface="+mj-lt"/>
              <a:cs typeface="Arial" panose="020B0604020202020204" pitchFamily="34" charset="0"/>
            </a:rPr>
            <a:t> completed in GB Pant Polytechnic</a:t>
          </a:r>
          <a:endParaRPr lang="en-US" sz="1300" kern="1200" dirty="0">
            <a:latin typeface="+mj-lt"/>
            <a:cs typeface="Arial" panose="020B0604020202020204" pitchFamily="34" charset="0"/>
          </a:endParaRPr>
        </a:p>
      </dsp:txBody>
      <dsp:txXfrm>
        <a:off x="6153634" y="2902752"/>
        <a:ext cx="1515813" cy="219005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89B965-D035-4416-A2BF-267693FA3CCA}">
      <dsp:nvSpPr>
        <dsp:cNvPr id="0" name=""/>
        <dsp:cNvSpPr/>
      </dsp:nvSpPr>
      <dsp:spPr>
        <a:xfrm>
          <a:off x="579968" y="1207344"/>
          <a:ext cx="3622035" cy="3622035"/>
        </a:xfrm>
        <a:prstGeom prst="ellipse">
          <a:avLst/>
        </a:prstGeom>
        <a:solidFill>
          <a:schemeClr val="accent2">
            <a:hueOff val="-838123"/>
            <a:satOff val="-9658"/>
            <a:lumOff val="21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B8AC38-C651-46FD-8494-90A370DE27EE}">
      <dsp:nvSpPr>
        <dsp:cNvPr id="0" name=""/>
        <dsp:cNvSpPr/>
      </dsp:nvSpPr>
      <dsp:spPr>
        <a:xfrm>
          <a:off x="1304375" y="1931752"/>
          <a:ext cx="2173221" cy="2173221"/>
        </a:xfrm>
        <a:prstGeom prst="ellipse">
          <a:avLst/>
        </a:prstGeom>
        <a:solidFill>
          <a:schemeClr val="accent2">
            <a:hueOff val="-419062"/>
            <a:satOff val="-4829"/>
            <a:lumOff val="107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6B59A7-D763-4AC0-B0FA-2F7C66B31A4D}">
      <dsp:nvSpPr>
        <dsp:cNvPr id="0" name=""/>
        <dsp:cNvSpPr/>
      </dsp:nvSpPr>
      <dsp:spPr>
        <a:xfrm>
          <a:off x="2028782" y="2656159"/>
          <a:ext cx="724407" cy="724407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624259-F708-40EE-AE92-B9021F23B50E}">
      <dsp:nvSpPr>
        <dsp:cNvPr id="0" name=""/>
        <dsp:cNvSpPr/>
      </dsp:nvSpPr>
      <dsp:spPr>
        <a:xfrm>
          <a:off x="4594003" y="0"/>
          <a:ext cx="2234360" cy="10564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22860" rIns="22860" bIns="2286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Co-hosted seminars/webinars every quarter</a:t>
          </a:r>
          <a:endParaRPr lang="en-US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594003" y="0"/>
        <a:ext cx="2234360" cy="1056426"/>
      </dsp:txXfrm>
    </dsp:sp>
    <dsp:sp modelId="{E2053EDA-7336-4720-87CE-B4EDE89FCD38}">
      <dsp:nvSpPr>
        <dsp:cNvPr id="0" name=""/>
        <dsp:cNvSpPr/>
      </dsp:nvSpPr>
      <dsp:spPr>
        <a:xfrm>
          <a:off x="4352921" y="528213"/>
          <a:ext cx="45275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E1E89F-D798-464B-8F13-1399BF4813E4}">
      <dsp:nvSpPr>
        <dsp:cNvPr id="0" name=""/>
        <dsp:cNvSpPr/>
      </dsp:nvSpPr>
      <dsp:spPr>
        <a:xfrm rot="5400000">
          <a:off x="2126275" y="793527"/>
          <a:ext cx="2489545" cy="1960124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2AEC88-9823-4D2E-B84A-51AD7FCC419A}">
      <dsp:nvSpPr>
        <dsp:cNvPr id="0" name=""/>
        <dsp:cNvSpPr/>
      </dsp:nvSpPr>
      <dsp:spPr>
        <a:xfrm>
          <a:off x="4805675" y="1056426"/>
          <a:ext cx="1811017" cy="1056426"/>
        </a:xfrm>
        <a:prstGeom prst="rect">
          <a:avLst/>
        </a:prstGeom>
        <a:solidFill>
          <a:schemeClr val="accent3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20320" bIns="2032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Ecosystem for mandatory Thermal insulation as per ECBC (R-value)</a:t>
          </a:r>
          <a:endParaRPr lang="en-US" sz="1600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805675" y="1056426"/>
        <a:ext cx="1811017" cy="1056426"/>
      </dsp:txXfrm>
    </dsp:sp>
    <dsp:sp modelId="{36B264A5-29E5-423F-974A-49B680BDC85E}">
      <dsp:nvSpPr>
        <dsp:cNvPr id="0" name=""/>
        <dsp:cNvSpPr/>
      </dsp:nvSpPr>
      <dsp:spPr>
        <a:xfrm>
          <a:off x="4352921" y="1584640"/>
          <a:ext cx="45275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51A751-A4AF-44E3-95E1-D0E51A536465}">
      <dsp:nvSpPr>
        <dsp:cNvPr id="0" name=""/>
        <dsp:cNvSpPr/>
      </dsp:nvSpPr>
      <dsp:spPr>
        <a:xfrm rot="5400000">
          <a:off x="2660646" y="1833474"/>
          <a:ext cx="1939961" cy="1440966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4CA0CA-F452-4ED9-B4E5-19E22DD0E90A}">
      <dsp:nvSpPr>
        <dsp:cNvPr id="0" name=""/>
        <dsp:cNvSpPr/>
      </dsp:nvSpPr>
      <dsp:spPr>
        <a:xfrm>
          <a:off x="4805675" y="2112853"/>
          <a:ext cx="1811017" cy="1056426"/>
        </a:xfrm>
        <a:prstGeom prst="rect">
          <a:avLst/>
        </a:prstGeom>
        <a:solidFill>
          <a:schemeClr val="accent2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22860" rIns="22860" bIns="2286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Grants for home insulation</a:t>
          </a:r>
          <a:endParaRPr lang="en-US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805675" y="2112853"/>
        <a:ext cx="1811017" cy="1056426"/>
      </dsp:txXfrm>
    </dsp:sp>
    <dsp:sp modelId="{9F2D6D48-63E0-4685-94B5-F487DA5E3061}">
      <dsp:nvSpPr>
        <dsp:cNvPr id="0" name=""/>
        <dsp:cNvSpPr/>
      </dsp:nvSpPr>
      <dsp:spPr>
        <a:xfrm>
          <a:off x="4352921" y="2641067"/>
          <a:ext cx="45275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D99AB1-2E4F-4881-BDA1-AF451D85B0E5}">
      <dsp:nvSpPr>
        <dsp:cNvPr id="0" name=""/>
        <dsp:cNvSpPr/>
      </dsp:nvSpPr>
      <dsp:spPr>
        <a:xfrm rot="5400000">
          <a:off x="3195681" y="2872575"/>
          <a:ext cx="1386032" cy="921807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bList2#1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target1">
  <dgm:title val=""/>
  <dgm:desc val=""/>
  <dgm:catLst>
    <dgm:cat type="relationship" pri="25000"/>
    <dgm:cat type="convert" pri="2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equ" val="0">
            <dgm:constrLst/>
          </dgm:if>
          <dgm:if name="Name4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r" for="ch" forName="line1" refType="l" refFor="ch" refForName="text1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5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4432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6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86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717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7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29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662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25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r" for="ch" forName="text4" refType="w"/>
              <dgm:constr type="t" for="ch" forName="text4" refType="b" refFor="ch" refForName="text3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852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8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r" for="ch" forName="text1" refType="w"/>
              <dgm:constr type="ctrY" for="ch" forName="text1" refType="h" fact="0.13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r" for="ch" forName="text2" refType="w"/>
              <dgm:constr type="ctrY" for="ch" forName="text2" refType="h" fact="0.27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498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r" for="ch" forName="text3" refType="w"/>
              <dgm:constr type="ctrY" for="ch" forName="text3" refType="h" fact="0.41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394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r" for="ch" forName="text4" refType="w"/>
              <dgm:constr type="ctrY" for="ch" forName="text4" refType="h" fact="0.547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46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r" for="ch" forName="text5" refType="w"/>
              <dgm:constr type="ctrY" for="ch" forName="text5" refType="h" fact="0.68"/>
              <dgm:constr type="l" for="ch" forName="line5" refType="w" fact="0.625"/>
              <dgm:constr type="ctrY" for="ch" forName="line5" refType="ctrY" refFor="ch" refForName="text5"/>
              <dgm:constr type="w" for="ch" forName="line5" refType="w" fact="0.075"/>
              <dgm:constr type="h" for="ch" forName="line5"/>
              <dgm:constr type="l" for="ch" forName="d5" refType="w" fact="0.49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9"/>
        </dgm:choose>
      </dgm:if>
      <dgm:else name="Name10">
        <dgm:choose name="Name11">
          <dgm:if name="Name12" axis="ch" ptType="node" func="cnt" op="equ" val="0">
            <dgm:constrLst/>
          </dgm:if>
          <dgm:if name="Name13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14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5567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15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14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282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16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0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337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74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l" for="ch" forName="text4"/>
              <dgm:constr type="t" for="ch" forName="text4" refType="b" refFor="ch" refForName="text3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147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17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l" for="ch" forName="text1"/>
              <dgm:constr type="ctrY" for="ch" forName="text1" refType="h" fact="0.13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l" for="ch" forName="text2"/>
              <dgm:constr type="ctrY" for="ch" forName="text2" refType="h" fact="0.27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502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l" for="ch" forName="text3"/>
              <dgm:constr type="ctrY" for="ch" forName="text3" refType="h" fact="0.41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606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l" for="ch" forName="text4"/>
              <dgm:constr type="ctrY" for="ch" forName="text4" refType="h" fact="0.547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54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l" for="ch" forName="text5"/>
              <dgm:constr type="ctrY" for="ch" forName="text5" refType="h" fact="0.68"/>
              <dgm:constr type="l" for="ch" forName="line5" refType="r" refFor="ch" refForName="text5"/>
              <dgm:constr type="ctrY" for="ch" forName="line5" refType="ctrY" refFor="ch" refForName="text5"/>
              <dgm:constr type="r" for="ch" forName="line5" refType="w" fact="0.375"/>
              <dgm:constr type="h" for="ch" forName="line5"/>
              <dgm:constr type="r" for="ch" forName="d5" refType="w" fact="0.50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18"/>
        </dgm:choose>
      </dgm:else>
    </dgm:choose>
    <dgm:ruleLst/>
    <dgm:forEach name="Name19" axis="ch" ptType="node" cnt="1">
      <dgm:layoutNode name="circle1" styleLbl="l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text1" styleLbl="revTx">
        <dgm:varLst>
          <dgm:bulletEnabled val="1"/>
        </dgm:varLst>
        <dgm:choose name="Name20">
          <dgm:if name="Name21" func="var" arg="dir" op="equ" val="norm">
            <dgm:choose name="Name22">
              <dgm:if name="Name2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4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25">
            <dgm:choose name="Name26">
              <dgm:if name="Name2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8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29">
          <dgm:if name="Name30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31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1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1" styleLbl="callout">
        <dgm:alg type="sp"/>
        <dgm:choose name="Name32">
          <dgm:if name="Name33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34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35" axis="ch" ptType="node" st="2" cnt="1">
      <dgm:layoutNode name="circle2" styleLbl="lnNode1">
        <dgm:alg type="sp"/>
        <dgm:shape xmlns:r="http://schemas.openxmlformats.org/officeDocument/2006/relationships" type="ellipse" r:blip="" zOrderOff="-5">
          <dgm:adjLst/>
        </dgm:shape>
        <dgm:presOf/>
        <dgm:constrLst/>
        <dgm:ruleLst/>
      </dgm:layoutNode>
      <dgm:layoutNode name="text2" styleLbl="revTx">
        <dgm:varLst>
          <dgm:bulletEnabled val="1"/>
        </dgm:varLst>
        <dgm:choose name="Name36">
          <dgm:if name="Name37" func="var" arg="dir" op="equ" val="norm">
            <dgm:choose name="Name38">
              <dgm:if name="Name3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0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41">
            <dgm:choose name="Name42">
              <dgm:if name="Name4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4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45">
          <dgm:if name="Name46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47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2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2" styleLbl="callout">
        <dgm:alg type="sp"/>
        <dgm:choose name="Name48">
          <dgm:if name="Name49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50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51" axis="ch" ptType="node" st="3" cnt="1">
      <dgm:layoutNode name="circle3" styleLbl="lnNode1">
        <dgm:alg type="sp"/>
        <dgm:shape xmlns:r="http://schemas.openxmlformats.org/officeDocument/2006/relationships" type="ellipse" r:blip="" zOrderOff="-10">
          <dgm:adjLst/>
        </dgm:shape>
        <dgm:presOf/>
        <dgm:constrLst/>
        <dgm:ruleLst/>
      </dgm:layoutNode>
      <dgm:layoutNode name="text3" styleLbl="revTx">
        <dgm:varLst>
          <dgm:bulletEnabled val="1"/>
        </dgm:varLst>
        <dgm:choose name="Name52">
          <dgm:if name="Name53" func="var" arg="dir" op="equ" val="norm">
            <dgm:choose name="Name54">
              <dgm:if name="Name5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56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57">
            <dgm:choose name="Name58">
              <dgm:if name="Name5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60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61">
          <dgm:if name="Name62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63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3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3" styleLbl="callout">
        <dgm:alg type="sp"/>
        <dgm:choose name="Name64">
          <dgm:if name="Name65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66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67" axis="ch" ptType="node" st="4" cnt="1">
      <dgm:layoutNode name="circle4" styleLbl="lnNode1">
        <dgm:alg type="sp"/>
        <dgm:shape xmlns:r="http://schemas.openxmlformats.org/officeDocument/2006/relationships" type="ellipse" r:blip="" zOrderOff="-15">
          <dgm:adjLst/>
        </dgm:shape>
        <dgm:presOf/>
        <dgm:constrLst/>
        <dgm:ruleLst/>
      </dgm:layoutNode>
      <dgm:layoutNode name="text4" styleLbl="revTx">
        <dgm:varLst>
          <dgm:bulletEnabled val="1"/>
        </dgm:varLst>
        <dgm:choose name="Name68">
          <dgm:if name="Name69" func="var" arg="dir" op="equ" val="norm">
            <dgm:choose name="Name70">
              <dgm:if name="Name7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2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73">
            <dgm:choose name="Name74">
              <dgm:if name="Name7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6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77">
          <dgm:if name="Name78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79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4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4" styleLbl="callout">
        <dgm:alg type="sp"/>
        <dgm:choose name="Name80">
          <dgm:if name="Name81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82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83" axis="ch" ptType="node" st="5" cnt="1">
      <dgm:layoutNode name="circle5" styleLbl="lnNode1">
        <dgm:alg type="sp"/>
        <dgm:shape xmlns:r="http://schemas.openxmlformats.org/officeDocument/2006/relationships" type="ellipse" r:blip="" zOrderOff="-20">
          <dgm:adjLst/>
        </dgm:shape>
        <dgm:presOf/>
        <dgm:constrLst/>
        <dgm:ruleLst/>
      </dgm:layoutNode>
      <dgm:layoutNode name="text5" styleLbl="revTx">
        <dgm:varLst>
          <dgm:bulletEnabled val="1"/>
        </dgm:varLst>
        <dgm:choose name="Name84">
          <dgm:if name="Name85" func="var" arg="dir" op="equ" val="norm">
            <dgm:choose name="Name86">
              <dgm:if name="Name8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88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89">
            <dgm:choose name="Name90">
              <dgm:if name="Name9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92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93">
          <dgm:if name="Name94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95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5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5" styleLbl="callout">
        <dgm:alg type="sp"/>
        <dgm:choose name="Name96">
          <dgm:if name="Name97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98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8C38D0-2010-4BF0-8DF5-032D9E618002}" type="datetimeFigureOut">
              <a:rPr lang="en-US" smtClean="0"/>
              <a:pPr/>
              <a:t>10/1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A8B061-B99C-41CF-8F95-477CD5A8EB4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8995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A8B061-B99C-41CF-8F95-477CD5A8EB4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785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A8B061-B99C-41CF-8F95-477CD5A8EB4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094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Note: Windows </a:t>
            </a:r>
            <a:r>
              <a:rPr lang="en-US" dirty="0" smtClean="0"/>
              <a:t>include both direct solar heat gain as well as the heat gain through condu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A8B061-B99C-41CF-8F95-477CD5A8EB4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6216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ngle zone: 3m x 5m</a:t>
            </a:r>
          </a:p>
          <a:p>
            <a:r>
              <a:rPr lang="en-US" dirty="0"/>
              <a:t>External wall: 9 inch brick</a:t>
            </a:r>
          </a:p>
          <a:p>
            <a:r>
              <a:rPr lang="en-US" dirty="0"/>
              <a:t>Roof: 6 inch RCC slab</a:t>
            </a:r>
          </a:p>
          <a:p>
            <a:r>
              <a:rPr lang="en-US" dirty="0"/>
              <a:t>Window to wall ratio: 15% (all sides)</a:t>
            </a:r>
          </a:p>
          <a:p>
            <a:r>
              <a:rPr lang="en-US" dirty="0"/>
              <a:t>No heat exchange with the ground (adiabatic)</a:t>
            </a:r>
          </a:p>
          <a:p>
            <a:r>
              <a:rPr lang="en-US" dirty="0"/>
              <a:t>No internal loads</a:t>
            </a:r>
          </a:p>
          <a:p>
            <a:r>
              <a:rPr lang="en-US" dirty="0"/>
              <a:t>Cooling set-point: 24</a:t>
            </a:r>
            <a:r>
              <a:rPr lang="en-US" baseline="30000" dirty="0"/>
              <a:t>o</a:t>
            </a:r>
            <a:r>
              <a:rPr lang="en-US" dirty="0"/>
              <a:t>C</a:t>
            </a:r>
          </a:p>
          <a:p>
            <a:r>
              <a:rPr lang="en-US" dirty="0"/>
              <a:t>Heating set-point: 22</a:t>
            </a:r>
            <a:r>
              <a:rPr lang="en-US" baseline="30000" dirty="0"/>
              <a:t>o</a:t>
            </a:r>
            <a:r>
              <a:rPr lang="en-US" dirty="0"/>
              <a:t>C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A8B061-B99C-41CF-8F95-477CD5A8EB4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4021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ngle zone: 3m x 5m</a:t>
            </a:r>
          </a:p>
          <a:p>
            <a:r>
              <a:rPr lang="en-US" dirty="0"/>
              <a:t>External wall: 9 inch brick</a:t>
            </a:r>
          </a:p>
          <a:p>
            <a:r>
              <a:rPr lang="en-US" dirty="0"/>
              <a:t>Roof: 6 inch RCC slab</a:t>
            </a:r>
          </a:p>
          <a:p>
            <a:r>
              <a:rPr lang="en-US" dirty="0"/>
              <a:t>Window to wall ratio: 15% (all sides)</a:t>
            </a:r>
          </a:p>
          <a:p>
            <a:r>
              <a:rPr lang="en-US" dirty="0"/>
              <a:t>No heat exchange with the ground (adiabatic)</a:t>
            </a:r>
          </a:p>
          <a:p>
            <a:r>
              <a:rPr lang="en-US" dirty="0"/>
              <a:t>No internal loads</a:t>
            </a:r>
          </a:p>
          <a:p>
            <a:r>
              <a:rPr lang="en-US" dirty="0"/>
              <a:t>Cooling set-point: 24</a:t>
            </a:r>
            <a:r>
              <a:rPr lang="en-US" baseline="30000" dirty="0"/>
              <a:t>o</a:t>
            </a:r>
            <a:r>
              <a:rPr lang="en-US" dirty="0"/>
              <a:t>C</a:t>
            </a:r>
          </a:p>
          <a:p>
            <a:r>
              <a:rPr lang="en-US" dirty="0"/>
              <a:t>Heating set-point: 22</a:t>
            </a:r>
            <a:r>
              <a:rPr lang="en-US" baseline="30000" dirty="0"/>
              <a:t>o</a:t>
            </a:r>
            <a:r>
              <a:rPr lang="en-US" dirty="0"/>
              <a:t>C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A8B061-B99C-41CF-8F95-477CD5A8EB4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4021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5017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3551708-2E3A-45FC-8661-875C0DAB202D}" type="slidenum">
              <a:rPr lang="en-IN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1</a:t>
            </a:fld>
            <a:endParaRPr lang="en-I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D8213-9C3F-4362-ABEA-E4BE1CA78AD4}" type="datetime1">
              <a:rPr lang="en-US" smtClean="0"/>
              <a:t>10/10/2016</a:t>
            </a:fld>
            <a:endParaRPr lang="en-US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387AC-6784-4D6A-9560-45E8169C6086}" type="datetime1">
              <a:rPr lang="en-US" smtClean="0"/>
              <a:t>10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4583A-C810-4BA3-B970-E61F796246CA}" type="datetime1">
              <a:rPr lang="en-US" smtClean="0"/>
              <a:t>10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C3CFE-C645-49CB-A999-71BCA86C4B7E}" type="datetime1">
              <a:rPr lang="en-US" smtClean="0"/>
              <a:t>10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9E0A12-A711-4A84-87A9-7C371332BC24}" type="datetime1">
              <a:rPr lang="en-US" smtClean="0"/>
              <a:t>10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9EE23-C321-4994-BF25-A6387E256E45}" type="datetime1">
              <a:rPr lang="en-US" smtClean="0"/>
              <a:t>10/1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1C93-971C-40BB-A051-82A47ED47DC9}" type="datetime1">
              <a:rPr lang="en-US" smtClean="0"/>
              <a:t>10/10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AAAD6-6837-4E8D-94C1-04CA782683A0}" type="datetime1">
              <a:rPr lang="en-US" smtClean="0"/>
              <a:t>10/10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739877-7B26-451C-B1B8-68FA1B6B9D13}" type="datetime1">
              <a:rPr lang="en-US" smtClean="0"/>
              <a:t>10/10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4A501-EDF8-432F-84C3-B9D07839BDD4}" type="datetime1">
              <a:rPr lang="en-US" smtClean="0"/>
              <a:t>10/1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Right Triangle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EF881A-C201-4E8B-B666-97B1A723FBDA}" type="datetime1">
              <a:rPr lang="en-US" smtClean="0"/>
              <a:t>10/10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F5277C51-3B9B-4772-AF14-D4094B18728F}" type="datetime1">
              <a:rPr lang="en-US" smtClean="0"/>
              <a:t>10/10/2016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smtClean="0"/>
              <a:t>India Insulation Forum -Sep 28, 2015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1A67B0DF-5DD5-438B-B9BC-C8417AB5D9E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05429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usWatermark"/>
          <p:cNvSpPr txBox="1"/>
          <p:nvPr userDrawn="1"/>
        </p:nvSpPr>
        <p:spPr>
          <a:xfrm rot="19380000">
            <a:off x="0" y="3421379"/>
            <a:ext cx="9144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endParaRPr lang="en-US" sz="100">
              <a:solidFill>
                <a:schemeClr val="bg2"/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  <p:sldLayoutId id="2147483852" r:id="rId6"/>
    <p:sldLayoutId id="2147483853" r:id="rId7"/>
    <p:sldLayoutId id="2147483854" r:id="rId8"/>
    <p:sldLayoutId id="2147483855" r:id="rId9"/>
    <p:sldLayoutId id="2147483856" r:id="rId10"/>
    <p:sldLayoutId id="2147483857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3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13" Type="http://schemas.openxmlformats.org/officeDocument/2006/relationships/image" Target="../media/image21.png"/><Relationship Id="rId18" Type="http://schemas.openxmlformats.org/officeDocument/2006/relationships/image" Target="../media/image26.jpg"/><Relationship Id="rId3" Type="http://schemas.openxmlformats.org/officeDocument/2006/relationships/image" Target="../media/image11.jp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jpg"/><Relationship Id="rId2" Type="http://schemas.openxmlformats.org/officeDocument/2006/relationships/image" Target="../media/image10.png"/><Relationship Id="rId16" Type="http://schemas.openxmlformats.org/officeDocument/2006/relationships/image" Target="../media/image24.jp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jpg"/><Relationship Id="rId10" Type="http://schemas.openxmlformats.org/officeDocument/2006/relationships/image" Target="../media/image18.jpg"/><Relationship Id="rId19" Type="http://schemas.openxmlformats.org/officeDocument/2006/relationships/image" Target="../media/image27.png"/><Relationship Id="rId4" Type="http://schemas.openxmlformats.org/officeDocument/2006/relationships/image" Target="../media/image12.jpg"/><Relationship Id="rId9" Type="http://schemas.openxmlformats.org/officeDocument/2006/relationships/image" Target="../media/image17.gif"/><Relationship Id="rId14" Type="http://schemas.openxmlformats.org/officeDocument/2006/relationships/image" Target="../media/image2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27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5.xml"/><Relationship Id="rId12" Type="http://schemas.openxmlformats.org/officeDocument/2006/relationships/image" Target="../media/image2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5.xml"/><Relationship Id="rId11" Type="http://schemas.openxmlformats.org/officeDocument/2006/relationships/image" Target="../media/image27.png"/><Relationship Id="rId5" Type="http://schemas.openxmlformats.org/officeDocument/2006/relationships/image" Target="../media/image2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TRAINING%20MANUAL/Training%20module%2002.%2006.%202015%20Updated%20by%20Isaac%20and%20Roulet.docx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image" Target="../media/image31.jpg"/><Relationship Id="rId7" Type="http://schemas.openxmlformats.org/officeDocument/2006/relationships/image" Target="../media/image35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jpg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9.jpeg"/><Relationship Id="rId12" Type="http://schemas.openxmlformats.org/officeDocument/2006/relationships/image" Target="../media/image2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8.jpeg"/><Relationship Id="rId11" Type="http://schemas.openxmlformats.org/officeDocument/2006/relationships/image" Target="../media/image43.jpeg"/><Relationship Id="rId5" Type="http://schemas.openxmlformats.org/officeDocument/2006/relationships/image" Target="../media/image37.emf"/><Relationship Id="rId10" Type="http://schemas.openxmlformats.org/officeDocument/2006/relationships/image" Target="../media/image42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http://www.indiainsulationforum.in/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27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0" y="1676400"/>
            <a:ext cx="1600200" cy="13648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72631836"/>
              </p:ext>
            </p:extLst>
          </p:nvPr>
        </p:nvGraphicFramePr>
        <p:xfrm>
          <a:off x="1447800" y="3352800"/>
          <a:ext cx="6324600" cy="1692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92684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606218"/>
              </p:ext>
            </p:extLst>
          </p:nvPr>
        </p:nvGraphicFramePr>
        <p:xfrm>
          <a:off x="609600" y="1371600"/>
          <a:ext cx="82296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sulation Benefit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6832" y="6094608"/>
            <a:ext cx="952633" cy="738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05059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IIF?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hat has IIF done so far?</a:t>
            </a:r>
          </a:p>
          <a:p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does IIF plan to do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88058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1067" y="1595504"/>
            <a:ext cx="889459" cy="889459"/>
          </a:xfrm>
          <a:prstGeom prst="rect">
            <a:avLst/>
          </a:prstGeom>
        </p:spPr>
      </p:pic>
      <p:sp>
        <p:nvSpPr>
          <p:cNvPr id="5" name="Title 2"/>
          <p:cNvSpPr txBox="1">
            <a:spLocks/>
          </p:cNvSpPr>
          <p:nvPr/>
        </p:nvSpPr>
        <p:spPr>
          <a:xfrm>
            <a:off x="457200" y="338328"/>
            <a:ext cx="8229600" cy="957072"/>
          </a:xfrm>
          <a:prstGeom prst="rect">
            <a:avLst/>
          </a:prstGeom>
          <a:ln>
            <a:noFill/>
          </a:ln>
        </p:spPr>
        <p:txBody>
          <a:bodyPr vert="horz" lIns="0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 eaLnBrk="1" latinLnBrk="0" hangingPunct="1">
              <a:spcBef>
                <a:spcPct val="0"/>
              </a:spcBef>
              <a:buNone/>
              <a:defRPr kumimoji="0" sz="5600" b="1" kern="1200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Members - </a:t>
            </a:r>
            <a:r>
              <a:rPr lang="en-US" sz="4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local</a:t>
            </a:r>
            <a:endParaRPr lang="en-US" sz="4800" i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1144404"/>
            <a:ext cx="912996" cy="9129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1960" y="2668404"/>
            <a:ext cx="884640" cy="9129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471" y="1079293"/>
            <a:ext cx="1676400" cy="9129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1011" y="3967195"/>
            <a:ext cx="2650319" cy="528605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0013" y="2463930"/>
            <a:ext cx="1701587" cy="104127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7400" y="4191000"/>
            <a:ext cx="2540000" cy="5461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0655" y="2040234"/>
            <a:ext cx="2949145" cy="62536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724" y="2922455"/>
            <a:ext cx="1083276" cy="103994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0" y="3505200"/>
            <a:ext cx="1523810" cy="238095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2819400"/>
            <a:ext cx="2109788" cy="409575"/>
          </a:xfrm>
          <a:prstGeom prst="rect">
            <a:avLst/>
          </a:prstGeom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650" y="5638800"/>
            <a:ext cx="424815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3" descr="D:\Laptop backup\MBEMI\MBEMI\Documents\Personal\My Document\My Documents\LOGOS\BASF\Red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722" y="5364675"/>
            <a:ext cx="1921478" cy="95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335" y="2990335"/>
            <a:ext cx="972065" cy="97206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342" y="4939342"/>
            <a:ext cx="928058" cy="92805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3712" y="4038600"/>
            <a:ext cx="1104288" cy="11042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3886201"/>
            <a:ext cx="990600" cy="9906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000" y="6096000"/>
            <a:ext cx="725394" cy="562180"/>
          </a:xfrm>
          <a:prstGeom prst="rect">
            <a:avLst/>
          </a:prstGeom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4876800"/>
            <a:ext cx="3041822" cy="685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9357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IF Organization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67216978"/>
              </p:ext>
            </p:extLst>
          </p:nvPr>
        </p:nvGraphicFramePr>
        <p:xfrm>
          <a:off x="457200" y="1935163"/>
          <a:ext cx="8229600" cy="4389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000" y="5943600"/>
            <a:ext cx="725394" cy="56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98606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7100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819912"/>
          </a:xfrm>
        </p:spPr>
        <p:txBody>
          <a:bodyPr>
            <a:normAutofit/>
          </a:bodyPr>
          <a:lstStyle/>
          <a:p>
            <a:pPr algn="r"/>
            <a:r>
              <a:rPr lang="en-US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…..2015</a:t>
            </a: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9" name="Content Placeholder 3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15844409"/>
              </p:ext>
            </p:extLst>
          </p:nvPr>
        </p:nvGraphicFramePr>
        <p:xfrm>
          <a:off x="457200" y="1371601"/>
          <a:ext cx="8382000" cy="548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000" y="6096000"/>
            <a:ext cx="725394" cy="562180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>
          <a:xfrm>
            <a:off x="6553200" y="2971800"/>
            <a:ext cx="1714632" cy="17526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5029200"/>
            <a:ext cx="2396248" cy="134789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971800" y="6377090"/>
            <a:ext cx="292419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Bayer </a:t>
            </a:r>
            <a:r>
              <a:rPr lang="en-US" sz="10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terialScience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is now called Covestro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375542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9" grpId="0">
        <p:bldAsOne/>
      </p:bldGraphic>
      <p:bldP spid="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3400" y="609600"/>
            <a:ext cx="8229600" cy="533400"/>
          </a:xfrm>
        </p:spPr>
        <p:txBody>
          <a:bodyPr>
            <a:normAutofit fontScale="90000"/>
          </a:bodyPr>
          <a:lstStyle/>
          <a:p>
            <a:r>
              <a:rPr lang="en-US" sz="4400" dirty="0" smtClean="0">
                <a:cs typeface="Arial" panose="020B0604020202020204" pitchFamily="34" charset="0"/>
              </a:rPr>
              <a:t>Applicator Orientation</a:t>
            </a:r>
            <a:endParaRPr lang="en-US" sz="4400" dirty="0">
              <a:cs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72067" y="2133600"/>
            <a:ext cx="7408333" cy="3352800"/>
          </a:xfrm>
        </p:spPr>
        <p:txBody>
          <a:bodyPr>
            <a:normAutofit/>
          </a:bodyPr>
          <a:lstStyle/>
          <a:p>
            <a:r>
              <a:rPr lang="en-US" dirty="0">
                <a:latin typeface="+mj-lt"/>
                <a:cs typeface="Arial" panose="020B0604020202020204" pitchFamily="34" charset="0"/>
              </a:rPr>
              <a:t>Applicator Training Manual - a comprehensive document targeting the weakest link in the value chain. </a:t>
            </a:r>
            <a:r>
              <a:rPr lang="en-US" dirty="0" smtClean="0">
                <a:latin typeface="+mj-lt"/>
                <a:cs typeface="Arial" panose="020B0604020202020204" pitchFamily="34" charset="0"/>
                <a:hlinkClick r:id="rId2" action="ppaction://hlinkfile"/>
              </a:rPr>
              <a:t>TRAINING MANUAL</a:t>
            </a:r>
            <a:endParaRPr lang="en-US" dirty="0" smtClean="0">
              <a:latin typeface="+mj-lt"/>
              <a:cs typeface="Arial" panose="020B0604020202020204" pitchFamily="34" charset="0"/>
            </a:endParaRPr>
          </a:p>
          <a:p>
            <a:r>
              <a:rPr lang="en-US" dirty="0">
                <a:latin typeface="+mj-lt"/>
                <a:cs typeface="Arial" panose="020B0604020202020204" pitchFamily="34" charset="0"/>
              </a:rPr>
              <a:t>First of its kind in India </a:t>
            </a:r>
            <a:endParaRPr lang="en-US" dirty="0" smtClean="0">
              <a:latin typeface="+mj-lt"/>
              <a:cs typeface="Arial" panose="020B0604020202020204" pitchFamily="34" charset="0"/>
            </a:endParaRPr>
          </a:p>
          <a:p>
            <a:r>
              <a:rPr lang="en-US" dirty="0" smtClean="0">
                <a:latin typeface="+mj-lt"/>
                <a:cs typeface="Arial" panose="020B0604020202020204" pitchFamily="34" charset="0"/>
              </a:rPr>
              <a:t>Scope on ECBC context</a:t>
            </a:r>
          </a:p>
          <a:p>
            <a:r>
              <a:rPr lang="en-US" dirty="0" smtClean="0">
                <a:latin typeface="+mj-lt"/>
                <a:cs typeface="Arial" panose="020B0604020202020204" pitchFamily="34" charset="0"/>
              </a:rPr>
              <a:t>Aimed at enhancing the appreciation of building energy efficiency through technical insulation</a:t>
            </a:r>
            <a:endParaRPr lang="en-US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8149" y="6019800"/>
            <a:ext cx="823716" cy="638380"/>
          </a:xfrm>
          <a:prstGeom prst="rect">
            <a:avLst/>
          </a:prstGeom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032" y="351112"/>
            <a:ext cx="8181975" cy="598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2107302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5946309"/>
            <a:ext cx="1066800" cy="826771"/>
          </a:xfrm>
          <a:prstGeom prst="rect">
            <a:avLst/>
          </a:prstGeom>
        </p:spPr>
      </p:pic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339725" y="88819"/>
            <a:ext cx="8728075" cy="731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54000" anchor="b">
            <a:spAutoFit/>
          </a:bodyPr>
          <a:lstStyle/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Various Application Methods</a:t>
            </a:r>
            <a:endParaRPr lang="en-US" sz="4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225993"/>
            <a:ext cx="2130791" cy="159340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6520" y="3861807"/>
            <a:ext cx="2585398" cy="195949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600" y="1213305"/>
            <a:ext cx="1787566" cy="168229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3733800"/>
            <a:ext cx="1690110" cy="221551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6890" y="3733800"/>
            <a:ext cx="2614934" cy="2057228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939225"/>
            <a:ext cx="2032551" cy="2002732"/>
          </a:xfrm>
          <a:prstGeom prst="rect">
            <a:avLst/>
          </a:prstGeom>
        </p:spPr>
      </p:pic>
      <p:sp>
        <p:nvSpPr>
          <p:cNvPr id="26" name="Text Box 15"/>
          <p:cNvSpPr txBox="1">
            <a:spLocks noChangeArrowheads="1"/>
          </p:cNvSpPr>
          <p:nvPr/>
        </p:nvSpPr>
        <p:spPr bwMode="auto">
          <a:xfrm>
            <a:off x="5638800" y="3149025"/>
            <a:ext cx="3060838" cy="584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 dirty="0" smtClean="0">
                <a:solidFill>
                  <a:schemeClr val="tx2"/>
                </a:solidFill>
                <a:cs typeface="Arial" pitchFamily="34" charset="0"/>
              </a:rPr>
              <a:t>PU External Roof &amp; Wall Spray </a:t>
            </a:r>
          </a:p>
          <a:p>
            <a:pPr algn="ctr"/>
            <a:r>
              <a:rPr lang="en-US" sz="1600" dirty="0" smtClean="0">
                <a:solidFill>
                  <a:schemeClr val="tx2"/>
                </a:solidFill>
                <a:cs typeface="Arial" pitchFamily="34" charset="0"/>
              </a:rPr>
              <a:t>Insulation</a:t>
            </a:r>
            <a:endParaRPr lang="en-US" sz="1600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27" name="Text Box 15"/>
          <p:cNvSpPr txBox="1">
            <a:spLocks noChangeArrowheads="1"/>
          </p:cNvSpPr>
          <p:nvPr/>
        </p:nvSpPr>
        <p:spPr bwMode="auto">
          <a:xfrm>
            <a:off x="1088255" y="2941957"/>
            <a:ext cx="2797945" cy="584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600" dirty="0" smtClean="0">
                <a:solidFill>
                  <a:schemeClr val="tx2"/>
                </a:solidFill>
                <a:cs typeface="Arial" pitchFamily="34" charset="0"/>
              </a:rPr>
              <a:t>External Wall Insulation with </a:t>
            </a:r>
          </a:p>
          <a:p>
            <a:pPr algn="ctr"/>
            <a:r>
              <a:rPr lang="en-US" sz="1600" dirty="0" smtClean="0">
                <a:solidFill>
                  <a:schemeClr val="tx2"/>
                </a:solidFill>
                <a:cs typeface="Arial" pitchFamily="34" charset="0"/>
              </a:rPr>
              <a:t>Rockwool slabs</a:t>
            </a:r>
            <a:endParaRPr lang="en-US" sz="1600" dirty="0">
              <a:solidFill>
                <a:schemeClr val="tx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8313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619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897" y="347281"/>
            <a:ext cx="8305800" cy="667512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G B Pant Polytechnic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199" y="1752600"/>
            <a:ext cx="6900333" cy="388143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261" y="2209800"/>
            <a:ext cx="6705600" cy="37719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9" y="3429000"/>
            <a:ext cx="4572000" cy="25717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1634" y="838200"/>
            <a:ext cx="3385132" cy="54102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65" y="2843018"/>
            <a:ext cx="5846235" cy="328850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185" y="952500"/>
            <a:ext cx="2786063" cy="49530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000" y="6096000"/>
            <a:ext cx="725394" cy="56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005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743712"/>
          </a:xfrm>
        </p:spPr>
        <p:txBody>
          <a:bodyPr>
            <a:normAutofit/>
          </a:bodyPr>
          <a:lstStyle/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Website</a:t>
            </a:r>
            <a:endParaRPr lang="en-US" sz="4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72067" y="2286000"/>
            <a:ext cx="7408333" cy="3450696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+mj-lt"/>
                <a:cs typeface="Arial" panose="020B0604020202020204" pitchFamily="34" charset="0"/>
              </a:rPr>
              <a:t>FAQs will </a:t>
            </a:r>
            <a:r>
              <a:rPr lang="en-US" dirty="0">
                <a:latin typeface="+mj-lt"/>
                <a:cs typeface="Arial" panose="020B0604020202020204" pitchFamily="34" charset="0"/>
              </a:rPr>
              <a:t>be addressed, a mine of resources and tools will be publicly available members can learn on the latest on insulation ideas across the country and globally.  </a:t>
            </a:r>
            <a:endParaRPr lang="en-US" dirty="0" smtClean="0">
              <a:latin typeface="+mj-lt"/>
              <a:cs typeface="Arial" panose="020B0604020202020204" pitchFamily="34" charset="0"/>
            </a:endParaRPr>
          </a:p>
          <a:p>
            <a:r>
              <a:rPr lang="en-US" dirty="0" smtClean="0">
                <a:latin typeface="+mj-lt"/>
                <a:cs typeface="Arial" panose="020B0604020202020204" pitchFamily="34" charset="0"/>
              </a:rPr>
              <a:t>This </a:t>
            </a:r>
            <a:r>
              <a:rPr lang="en-US" dirty="0">
                <a:latin typeface="+mj-lt"/>
                <a:cs typeface="Arial" panose="020B0604020202020204" pitchFamily="34" charset="0"/>
              </a:rPr>
              <a:t>will also be a platform where technical marketing space will be available for those concerned in the value chain can reach out</a:t>
            </a:r>
            <a:r>
              <a:rPr lang="en-US" dirty="0" smtClean="0">
                <a:latin typeface="+mj-lt"/>
                <a:cs typeface="Arial" panose="020B0604020202020204" pitchFamily="34" charset="0"/>
              </a:rPr>
              <a:t>.</a:t>
            </a:r>
          </a:p>
          <a:p>
            <a:r>
              <a:rPr lang="en-US" dirty="0" smtClean="0">
                <a:latin typeface="+mj-lt"/>
                <a:cs typeface="Arial" panose="020B0604020202020204" pitchFamily="34" charset="0"/>
              </a:rPr>
              <a:t>www.indiainsulationforum.in</a:t>
            </a:r>
            <a:r>
              <a:rPr lang="en-US" dirty="0" smtClean="0">
                <a:latin typeface="+mj-lt"/>
                <a:cs typeface="Arial" panose="020B0604020202020204" pitchFamily="34" charset="0"/>
                <a:hlinkClick r:id="rId2"/>
              </a:rPr>
              <a:t>India Insulation Forum</a:t>
            </a:r>
            <a:endParaRPr lang="en-US" dirty="0">
              <a:latin typeface="+mj-lt"/>
              <a:cs typeface="Arial" panose="020B0604020202020204" pitchFamily="34" charset="0"/>
            </a:endParaRPr>
          </a:p>
          <a:p>
            <a:endParaRPr lang="en-US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1671" y="6096000"/>
            <a:ext cx="725394" cy="56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057451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716000" cy="857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41758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hat is IIF?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hat has IIF done so far?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hat does IIF plan to do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10407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IIF?</a:t>
            </a:r>
          </a:p>
          <a:p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has IIF done so far?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hat does IIF plan to do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88058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IN" sz="4400" dirty="0" smtClean="0">
                <a:cs typeface="Arial" panose="020B0604020202020204" pitchFamily="34" charset="0"/>
              </a:rPr>
              <a:t>Way Forward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025" y="5943600"/>
            <a:ext cx="922040" cy="714581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182630" y="1981200"/>
            <a:ext cx="7504170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Awareness Semin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nergy Cod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sulation Materials Testing Facility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Applicator / ITI Training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Online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60308" y="4419600"/>
            <a:ext cx="1159292" cy="369332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Pan Indi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1"/>
          <p:cNvSpPr txBox="1">
            <a:spLocks/>
          </p:cNvSpPr>
          <p:nvPr/>
        </p:nvSpPr>
        <p:spPr>
          <a:xfrm>
            <a:off x="4934714" y="4419600"/>
            <a:ext cx="2685285" cy="1577924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</p:spPr>
        <p:txBody>
          <a:bodyPr>
            <a:normAutofit fontScale="70000" lnSpcReduction="20000"/>
          </a:bodyPr>
          <a:lstStyle>
            <a:lvl1pPr marL="274320" indent="-274320" algn="l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46888" algn="l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888" algn="l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Char char=""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8720" indent="-210312" algn="l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3040" indent="-210312" algn="l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 smtClean="0">
                <a:solidFill>
                  <a:schemeClr val="accent3"/>
                </a:solidFill>
                <a:latin typeface="+mj-lt"/>
              </a:rPr>
              <a:t>Not a stone unturned</a:t>
            </a:r>
          </a:p>
          <a:p>
            <a:r>
              <a:rPr lang="en-US" b="1" dirty="0" smtClean="0">
                <a:solidFill>
                  <a:schemeClr val="accent3"/>
                </a:solidFill>
                <a:latin typeface="+mj-lt"/>
              </a:rPr>
              <a:t>Social Advocacy</a:t>
            </a:r>
          </a:p>
          <a:p>
            <a:r>
              <a:rPr lang="en-US" b="1" dirty="0" smtClean="0">
                <a:solidFill>
                  <a:schemeClr val="accent3"/>
                </a:solidFill>
                <a:latin typeface="+mj-lt"/>
              </a:rPr>
              <a:t>News Updates</a:t>
            </a:r>
          </a:p>
          <a:p>
            <a:r>
              <a:rPr lang="en-US" b="1" dirty="0" smtClean="0">
                <a:solidFill>
                  <a:schemeClr val="accent3"/>
                </a:solidFill>
                <a:latin typeface="+mj-lt"/>
              </a:rPr>
              <a:t>Events</a:t>
            </a:r>
          </a:p>
          <a:p>
            <a:pPr lvl="1"/>
            <a:r>
              <a:rPr lang="en-US" sz="1800" b="1" dirty="0" err="1" smtClean="0">
                <a:solidFill>
                  <a:schemeClr val="accent3"/>
                </a:solidFill>
                <a:latin typeface="+mj-lt"/>
              </a:rPr>
              <a:t>Aranya</a:t>
            </a:r>
            <a:r>
              <a:rPr lang="en-US" sz="1800" b="1" dirty="0" smtClean="0">
                <a:solidFill>
                  <a:schemeClr val="accent3"/>
                </a:solidFill>
                <a:latin typeface="+mj-lt"/>
              </a:rPr>
              <a:t> </a:t>
            </a:r>
            <a:r>
              <a:rPr lang="en-US" sz="1800" b="1" dirty="0" err="1" smtClean="0">
                <a:solidFill>
                  <a:schemeClr val="accent3"/>
                </a:solidFill>
                <a:latin typeface="+mj-lt"/>
              </a:rPr>
              <a:t>Bhavan</a:t>
            </a:r>
            <a:endParaRPr lang="en-US" sz="1800" b="1" dirty="0" smtClean="0">
              <a:solidFill>
                <a:schemeClr val="accent3"/>
              </a:solidFill>
              <a:latin typeface="+mj-lt"/>
            </a:endParaRPr>
          </a:p>
          <a:p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313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20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2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4" dur="2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8" dur="20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2" dur="20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4" dur="20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86713"/>
            <a:ext cx="8401930" cy="737287"/>
          </a:xfrm>
        </p:spPr>
        <p:txBody>
          <a:bodyPr>
            <a:normAutofit fontScale="90000"/>
          </a:bodyPr>
          <a:lstStyle/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Partnership with Bureau of Energy Efficiency, Min of Power</a:t>
            </a:r>
            <a:endParaRPr lang="en-US" sz="4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8124072"/>
              </p:ext>
            </p:extLst>
          </p:nvPr>
        </p:nvGraphicFramePr>
        <p:xfrm>
          <a:off x="609600" y="1828801"/>
          <a:ext cx="7408333" cy="48293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3735" y="5914819"/>
            <a:ext cx="725395" cy="56218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77439" y="1581090"/>
            <a:ext cx="4932761" cy="400110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pPr algn="r"/>
            <a:r>
              <a:rPr lang="en-US" sz="2000" i="1" dirty="0" smtClean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	Alignment with BEE goals is key objective</a:t>
            </a:r>
            <a:endParaRPr lang="en-US" sz="2000" i="1" dirty="0">
              <a:solidFill>
                <a:srgbClr val="FF0000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9352317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175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091349"/>
            <a:ext cx="8382000" cy="5545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9600" y="533400"/>
            <a:ext cx="8229600" cy="387261"/>
          </a:xfrm>
        </p:spPr>
        <p:txBody>
          <a:bodyPr>
            <a:noAutofit/>
          </a:bodyPr>
          <a:lstStyle/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We seek everyone’s support!</a:t>
            </a:r>
            <a:endParaRPr lang="en-US" sz="4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1" y="2286000"/>
            <a:ext cx="2438400" cy="1577924"/>
          </a:xfrm>
        </p:spPr>
        <p:txBody>
          <a:bodyPr>
            <a:normAutofit fontScale="85000" lnSpcReduction="10000"/>
          </a:bodyPr>
          <a:lstStyle/>
          <a:p>
            <a:pPr lvl="0" rtl="0"/>
            <a:r>
              <a:rPr lang="en-US" b="1" dirty="0" smtClean="0">
                <a:solidFill>
                  <a:schemeClr val="accent3"/>
                </a:solidFill>
                <a:latin typeface="+mj-lt"/>
              </a:rPr>
              <a:t>Social Advocacy</a:t>
            </a:r>
          </a:p>
          <a:p>
            <a:pPr lvl="0" rtl="0"/>
            <a:r>
              <a:rPr lang="en-US" b="1" dirty="0" smtClean="0">
                <a:solidFill>
                  <a:schemeClr val="accent3"/>
                </a:solidFill>
                <a:latin typeface="+mj-lt"/>
              </a:rPr>
              <a:t>News Updates</a:t>
            </a:r>
          </a:p>
          <a:p>
            <a:pPr lvl="0" rtl="0"/>
            <a:r>
              <a:rPr lang="en-US" b="1" dirty="0" smtClean="0">
                <a:solidFill>
                  <a:schemeClr val="accent3"/>
                </a:solidFill>
                <a:latin typeface="+mj-lt"/>
              </a:rPr>
              <a:t>Events</a:t>
            </a:r>
          </a:p>
          <a:p>
            <a:pPr lvl="1"/>
            <a:r>
              <a:rPr lang="en-US" sz="1800" b="1" dirty="0" err="1" smtClean="0">
                <a:solidFill>
                  <a:schemeClr val="accent3"/>
                </a:solidFill>
                <a:latin typeface="+mj-lt"/>
              </a:rPr>
              <a:t>Aranya</a:t>
            </a:r>
            <a:r>
              <a:rPr lang="en-US" sz="1800" b="1" dirty="0" smtClean="0">
                <a:solidFill>
                  <a:schemeClr val="accent3"/>
                </a:solidFill>
                <a:latin typeface="+mj-lt"/>
              </a:rPr>
              <a:t> </a:t>
            </a:r>
            <a:r>
              <a:rPr lang="en-US" sz="1800" b="1" dirty="0" err="1" smtClean="0">
                <a:solidFill>
                  <a:schemeClr val="accent3"/>
                </a:solidFill>
                <a:latin typeface="+mj-lt"/>
              </a:rPr>
              <a:t>Bhavan</a:t>
            </a:r>
            <a:endParaRPr lang="en-US" sz="1800" b="1" dirty="0">
              <a:solidFill>
                <a:schemeClr val="accent3"/>
              </a:solidFill>
              <a:latin typeface="+mj-lt"/>
            </a:endParaRPr>
          </a:p>
          <a:p>
            <a:pPr lvl="0" rtl="0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5586309"/>
            <a:ext cx="922040" cy="714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604484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2" dur="2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2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2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2" dur="2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7400" y="1600200"/>
            <a:ext cx="4572000" cy="1981200"/>
          </a:xfrm>
        </p:spPr>
        <p:txBody>
          <a:bodyPr>
            <a:normAutofit fontScale="85000" lnSpcReduction="10000"/>
          </a:bodyPr>
          <a:lstStyle/>
          <a:p>
            <a:pPr marL="0" indent="0" algn="ctr">
              <a:buNone/>
            </a:pPr>
            <a:r>
              <a:rPr lang="en-US" sz="8800" b="1" dirty="0" smtClean="0">
                <a:latin typeface="French Script MT" panose="03020402040607040605" pitchFamily="66" charset="0"/>
              </a:rPr>
              <a:t>Come Join Us!</a:t>
            </a:r>
          </a:p>
          <a:p>
            <a:pPr marL="0" indent="0" algn="ctr">
              <a:buNone/>
            </a:pPr>
            <a:r>
              <a:rPr lang="en-US" sz="4200" b="1" dirty="0" smtClean="0">
                <a:latin typeface="French Script MT" panose="03020402040607040605" pitchFamily="66" charset="0"/>
              </a:rPr>
              <a:t>Thank You</a:t>
            </a:r>
            <a:endParaRPr lang="en-US" sz="4200" b="1" dirty="0">
              <a:latin typeface="French Script MT" panose="03020402040607040605" pitchFamily="66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24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200" y="3962400"/>
            <a:ext cx="1905266" cy="1476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24515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hat is IIF?</a:t>
            </a:r>
          </a:p>
          <a:p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has IIF done so far?</a:t>
            </a:r>
          </a:p>
          <a:p>
            <a:r>
              <a:rPr lang="en-US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does IIF plan to do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79786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338328"/>
            <a:ext cx="8229600" cy="957072"/>
          </a:xfrm>
        </p:spPr>
        <p:txBody>
          <a:bodyPr>
            <a:normAutofit/>
          </a:bodyPr>
          <a:lstStyle/>
          <a:p>
            <a:r>
              <a:rPr lang="en-US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India Insulation Forum (IIF)</a:t>
            </a:r>
            <a:endParaRPr lang="en-US" sz="4800" i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57857126"/>
              </p:ext>
            </p:extLst>
          </p:nvPr>
        </p:nvGraphicFramePr>
        <p:xfrm>
          <a:off x="609600" y="2133600"/>
          <a:ext cx="8153400" cy="45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7850" y="6034190"/>
            <a:ext cx="805149" cy="623991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219200" y="1143000"/>
            <a:ext cx="6934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4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Vision:</a:t>
            </a:r>
          </a:p>
          <a:p>
            <a:pPr algn="r"/>
            <a:r>
              <a:rPr lang="en-US" sz="24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 </a:t>
            </a:r>
            <a:r>
              <a:rPr lang="en-US" sz="24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where Use the Power of Insulation</a:t>
            </a:r>
            <a:endParaRPr lang="en-US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33530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5983605"/>
            <a:ext cx="1067066" cy="8269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398" y="381000"/>
            <a:ext cx="8991600" cy="914400"/>
          </a:xfrm>
        </p:spPr>
        <p:txBody>
          <a:bodyPr>
            <a:noAutofit/>
          </a:bodyPr>
          <a:lstStyle/>
          <a:p>
            <a:r>
              <a:rPr lang="en-US" sz="4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t Load Components: </a:t>
            </a:r>
            <a:br>
              <a:rPr lang="en-US" sz="4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m-Humid Climate (Chennai)</a:t>
            </a:r>
            <a:endParaRPr lang="en-US" sz="4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27" t="13199" r="14007" b="10331"/>
          <a:stretch/>
        </p:blipFill>
        <p:spPr bwMode="auto">
          <a:xfrm>
            <a:off x="1180457" y="3200400"/>
            <a:ext cx="3086743" cy="243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Down Arrow 9"/>
          <p:cNvSpPr/>
          <p:nvPr/>
        </p:nvSpPr>
        <p:spPr>
          <a:xfrm>
            <a:off x="2704457" y="2807732"/>
            <a:ext cx="304800" cy="3926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2171057" y="2438400"/>
            <a:ext cx="1447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f: 25%</a:t>
            </a:r>
            <a:endParaRPr 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Down Arrow 13"/>
          <p:cNvSpPr/>
          <p:nvPr/>
        </p:nvSpPr>
        <p:spPr>
          <a:xfrm rot="16200000">
            <a:off x="805934" y="3385065"/>
            <a:ext cx="304800" cy="3926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6200" y="3124200"/>
            <a:ext cx="1219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ll: 32%</a:t>
            </a:r>
            <a:endParaRPr 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Down Arrow 15"/>
          <p:cNvSpPr/>
          <p:nvPr/>
        </p:nvSpPr>
        <p:spPr>
          <a:xfrm rot="16200000">
            <a:off x="805934" y="4451865"/>
            <a:ext cx="304800" cy="3926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63335" y="3962400"/>
            <a:ext cx="1219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ndows: 36%</a:t>
            </a:r>
            <a:endParaRPr 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Curved Connector 17"/>
          <p:cNvCxnSpPr/>
          <p:nvPr/>
        </p:nvCxnSpPr>
        <p:spPr>
          <a:xfrm flipV="1">
            <a:off x="958334" y="5334000"/>
            <a:ext cx="565666" cy="304800"/>
          </a:xfrm>
          <a:prstGeom prst="curvedConnector3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6200" y="5574268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iltration: 7%</a:t>
            </a:r>
            <a:endParaRPr 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Box 24"/>
          <p:cNvSpPr txBox="1">
            <a:spLocks noChangeArrowheads="1"/>
          </p:cNvSpPr>
          <p:nvPr/>
        </p:nvSpPr>
        <p:spPr bwMode="auto">
          <a:xfrm>
            <a:off x="259748" y="6476736"/>
            <a:ext cx="16002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b="1" dirty="0" smtClean="0">
                <a:solidFill>
                  <a:schemeClr val="accent2"/>
                </a:solidFill>
              </a:rPr>
              <a:t>Source </a:t>
            </a:r>
            <a:r>
              <a:rPr lang="en-US" sz="1200" b="1" dirty="0">
                <a:solidFill>
                  <a:schemeClr val="accent2"/>
                </a:solidFill>
              </a:rPr>
              <a:t>: </a:t>
            </a:r>
            <a:r>
              <a:rPr lang="en-US" sz="1200" b="1" dirty="0" smtClean="0">
                <a:solidFill>
                  <a:schemeClr val="accent2"/>
                </a:solidFill>
              </a:rPr>
              <a:t>BEEP</a:t>
            </a:r>
            <a:endParaRPr lang="en-US" sz="1200" b="1" dirty="0"/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0326133"/>
              </p:ext>
            </p:extLst>
          </p:nvPr>
        </p:nvGraphicFramePr>
        <p:xfrm>
          <a:off x="4419600" y="1581858"/>
          <a:ext cx="4356532" cy="23805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8210"/>
                <a:gridCol w="2888322"/>
              </a:tblGrid>
              <a:tr h="429820">
                <a:tc gridSpan="2">
                  <a:txBody>
                    <a:bodyPr/>
                    <a:lstStyle/>
                    <a:p>
                      <a:r>
                        <a:rPr lang="en-US" sz="1800" dirty="0" smtClean="0"/>
                        <a:t>Summer:  Heat in-flow (May)</a:t>
                      </a:r>
                      <a:endParaRPr lang="en-US" sz="1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29820">
                <a:tc gridSpan="2">
                  <a:txBody>
                    <a:bodyPr/>
                    <a:lstStyle/>
                    <a:p>
                      <a:r>
                        <a:rPr lang="en-US" sz="1800" dirty="0" smtClean="0"/>
                        <a:t>Weather Conditions</a:t>
                      </a:r>
                      <a:endParaRPr lang="en-US" sz="1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</a:tr>
              <a:tr h="760451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Temperature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in.: 22.5</a:t>
                      </a:r>
                      <a:r>
                        <a:rPr lang="en-US" sz="1800" baseline="30000" dirty="0" smtClean="0"/>
                        <a:t>o</a:t>
                      </a:r>
                      <a:r>
                        <a:rPr lang="en-US" sz="1800" baseline="0" dirty="0" smtClean="0"/>
                        <a:t>C, </a:t>
                      </a:r>
                      <a:r>
                        <a:rPr lang="en-US" sz="1800" dirty="0" smtClean="0"/>
                        <a:t>Max.: 39.5</a:t>
                      </a:r>
                      <a:r>
                        <a:rPr lang="en-US" sz="1800" baseline="30000" dirty="0" smtClean="0"/>
                        <a:t>o</a:t>
                      </a:r>
                      <a:r>
                        <a:rPr lang="en-US" sz="1800" baseline="0" dirty="0" smtClean="0"/>
                        <a:t>C, Avg.: ~31.5</a:t>
                      </a:r>
                      <a:r>
                        <a:rPr lang="en-US" sz="1800" baseline="30000" dirty="0" smtClean="0"/>
                        <a:t>o</a:t>
                      </a:r>
                      <a:r>
                        <a:rPr lang="en-US" sz="1800" baseline="0" dirty="0" smtClean="0"/>
                        <a:t>C</a:t>
                      </a:r>
                      <a:endParaRPr lang="en-US" sz="1800" dirty="0"/>
                    </a:p>
                  </a:txBody>
                  <a:tcPr/>
                </a:tc>
              </a:tr>
              <a:tr h="760451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elative Humidity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in.: 33%, Max.: 98%, </a:t>
                      </a:r>
                      <a:r>
                        <a:rPr lang="en-US" sz="1800" baseline="0" dirty="0" smtClean="0"/>
                        <a:t>Avg.: ~69%</a:t>
                      </a:r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9046989"/>
              </p:ext>
            </p:extLst>
          </p:nvPr>
        </p:nvGraphicFramePr>
        <p:xfrm>
          <a:off x="4419600" y="3962400"/>
          <a:ext cx="4356532" cy="23619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52626"/>
                <a:gridCol w="1803906"/>
              </a:tblGrid>
              <a:tr h="435997">
                <a:tc gridSpan="2">
                  <a:txBody>
                    <a:bodyPr/>
                    <a:lstStyle/>
                    <a:p>
                      <a:r>
                        <a:rPr lang="en-US" sz="1800" dirty="0" smtClean="0"/>
                        <a:t>Net heat</a:t>
                      </a:r>
                      <a:r>
                        <a:rPr lang="en-US" sz="1800" baseline="0" dirty="0" smtClean="0"/>
                        <a:t> flow per unit area</a:t>
                      </a:r>
                      <a:endParaRPr lang="en-US" sz="1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411525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oof (15 m</a:t>
                      </a:r>
                      <a:r>
                        <a:rPr lang="en-US" sz="1800" baseline="30000" dirty="0" smtClean="0"/>
                        <a:t>2</a:t>
                      </a:r>
                      <a:r>
                        <a:rPr lang="en-US" sz="1800" dirty="0" smtClean="0"/>
                        <a:t>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17.0 kWh/m</a:t>
                      </a:r>
                      <a:r>
                        <a:rPr lang="en-US" sz="1800" baseline="30000" dirty="0" smtClean="0"/>
                        <a:t>2</a:t>
                      </a:r>
                      <a:endParaRPr lang="en-US" sz="1800" baseline="30000" dirty="0"/>
                    </a:p>
                  </a:txBody>
                  <a:tcPr/>
                </a:tc>
              </a:tr>
              <a:tr h="411525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Wall (47.6 m</a:t>
                      </a:r>
                      <a:r>
                        <a:rPr lang="en-US" sz="1800" baseline="30000" dirty="0" smtClean="0"/>
                        <a:t>2</a:t>
                      </a:r>
                      <a:r>
                        <a:rPr lang="en-US" sz="1800" dirty="0" smtClean="0"/>
                        <a:t>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7.3 kWh/m</a:t>
                      </a:r>
                      <a:r>
                        <a:rPr lang="en-US" sz="1800" baseline="30000" dirty="0" smtClean="0"/>
                        <a:t>2</a:t>
                      </a:r>
                      <a:endParaRPr lang="en-US" sz="1800" baseline="30000" dirty="0"/>
                    </a:p>
                  </a:txBody>
                  <a:tcPr/>
                </a:tc>
              </a:tr>
              <a:tr h="411525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Window (8.4 m</a:t>
                      </a:r>
                      <a:r>
                        <a:rPr lang="en-US" sz="1800" baseline="30000" dirty="0" smtClean="0"/>
                        <a:t>2</a:t>
                      </a:r>
                      <a:r>
                        <a:rPr lang="en-US" sz="1800" dirty="0" smtClean="0"/>
                        <a:t>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44.5</a:t>
                      </a:r>
                      <a:r>
                        <a:rPr lang="en-US" sz="1800" baseline="0" dirty="0" smtClean="0"/>
                        <a:t> kWh/m</a:t>
                      </a:r>
                      <a:r>
                        <a:rPr lang="en-US" sz="1800" baseline="30000" dirty="0" smtClean="0"/>
                        <a:t>2</a:t>
                      </a:r>
                      <a:endParaRPr lang="en-US" sz="1800" baseline="30000" dirty="0"/>
                    </a:p>
                  </a:txBody>
                  <a:tcPr/>
                </a:tc>
              </a:tr>
              <a:tr h="691363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nfiltration (based on floor area 15 m</a:t>
                      </a:r>
                      <a:r>
                        <a:rPr lang="en-US" sz="1800" baseline="30000" dirty="0" smtClean="0"/>
                        <a:t>2</a:t>
                      </a:r>
                      <a:r>
                        <a:rPr lang="en-US" sz="1800" dirty="0" smtClean="0"/>
                        <a:t>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4.9 kWh/m2</a:t>
                      </a:r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8477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Why Insulation? Energy &gt; Money</a:t>
            </a:r>
            <a:b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n example in a Composite Climate (New Delhi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2513012" y="1371600"/>
            <a:ext cx="4040188" cy="381000"/>
          </a:xfrm>
        </p:spPr>
        <p:txBody>
          <a:bodyPr>
            <a:normAutofit fontScale="92500"/>
          </a:bodyPr>
          <a:lstStyle/>
          <a:p>
            <a:r>
              <a:rPr lang="en-US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er: Heat in-flow (May)</a:t>
            </a:r>
            <a:endParaRPr lang="en-US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27" t="13199" r="14007" b="10331"/>
          <a:stretch/>
        </p:blipFill>
        <p:spPr bwMode="auto">
          <a:xfrm>
            <a:off x="1104257" y="3581400"/>
            <a:ext cx="3086743" cy="243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Down Arrow 9"/>
          <p:cNvSpPr/>
          <p:nvPr/>
        </p:nvSpPr>
        <p:spPr>
          <a:xfrm>
            <a:off x="2628257" y="3188732"/>
            <a:ext cx="304800" cy="3926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628900" y="2819400"/>
            <a:ext cx="228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oof: 24.6 kWh/m</a:t>
            </a:r>
            <a:r>
              <a:rPr lang="en-US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Down Arrow 13"/>
          <p:cNvSpPr/>
          <p:nvPr/>
        </p:nvSpPr>
        <p:spPr>
          <a:xfrm rot="16200000">
            <a:off x="729734" y="4758207"/>
            <a:ext cx="304800" cy="3926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0" y="4191000"/>
            <a:ext cx="121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all: 8.1 kWh/m</a:t>
            </a:r>
            <a:r>
              <a:rPr lang="en-US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228600" y="6553200"/>
            <a:ext cx="2209800" cy="304800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smtClean="0"/>
              <a:t>Source: BEEP analysis</a:t>
            </a:r>
            <a:endParaRPr lang="en-US" dirty="0"/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27" t="13199" r="14007" b="10331"/>
          <a:stretch/>
        </p:blipFill>
        <p:spPr bwMode="auto">
          <a:xfrm>
            <a:off x="5105400" y="3582941"/>
            <a:ext cx="3086743" cy="243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Down Arrow 21"/>
          <p:cNvSpPr/>
          <p:nvPr/>
        </p:nvSpPr>
        <p:spPr>
          <a:xfrm>
            <a:off x="6343971" y="3188732"/>
            <a:ext cx="304800" cy="3926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5505771" y="2819400"/>
            <a:ext cx="228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oof: 2.1 kWh/m</a:t>
            </a:r>
            <a:r>
              <a:rPr lang="en-US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Down Arrow 23"/>
          <p:cNvSpPr/>
          <p:nvPr/>
        </p:nvSpPr>
        <p:spPr>
          <a:xfrm rot="5400000">
            <a:off x="8398476" y="4793397"/>
            <a:ext cx="304800" cy="3926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8077200" y="4038600"/>
            <a:ext cx="121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all: 2.3 kWh/m</a:t>
            </a:r>
            <a:r>
              <a:rPr lang="en-US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ontent Placeholder 2"/>
          <p:cNvSpPr>
            <a:spLocks noGrp="1"/>
          </p:cNvSpPr>
          <p:nvPr>
            <p:ph idx="1"/>
          </p:nvPr>
        </p:nvSpPr>
        <p:spPr>
          <a:xfrm>
            <a:off x="990600" y="1905000"/>
            <a:ext cx="3429000" cy="914400"/>
          </a:xfrm>
          <a:solidFill>
            <a:schemeClr val="bg1">
              <a:lumMod val="95000"/>
            </a:schemeClr>
          </a:solidFill>
        </p:spPr>
        <p:txBody>
          <a:bodyPr>
            <a:normAutofit fontScale="70000" lnSpcReduction="20000"/>
          </a:bodyPr>
          <a:lstStyle/>
          <a:p>
            <a:pPr lvl="0"/>
            <a:r>
              <a:rPr lang="en-US" u="sng" dirty="0" smtClean="0">
                <a:latin typeface="Arial" panose="020B0604020202020204" pitchFamily="34" charset="0"/>
                <a:cs typeface="Arial" panose="020B0604020202020204" pitchFamily="34" charset="0"/>
              </a:rPr>
              <a:t>Business-as-usual construction</a:t>
            </a:r>
          </a:p>
          <a:p>
            <a:pPr lvl="0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oof U-value: 4.2 W/m</a:t>
            </a:r>
            <a:r>
              <a:rPr lang="en-US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.K</a:t>
            </a:r>
          </a:p>
          <a:p>
            <a:pPr lvl="0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all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-value: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2.1 W/m</a:t>
            </a:r>
            <a:r>
              <a:rPr lang="en-US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.K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5029200" y="1905000"/>
            <a:ext cx="3581400" cy="914400"/>
          </a:xfrm>
          <a:solidFill>
            <a:schemeClr val="bg1">
              <a:lumMod val="95000"/>
            </a:schemeClr>
          </a:solidFill>
        </p:spPr>
        <p:txBody>
          <a:bodyPr>
            <a:normAutofit fontScale="85000" lnSpcReduction="20000"/>
          </a:bodyPr>
          <a:lstStyle/>
          <a:p>
            <a:pPr lvl="0"/>
            <a:r>
              <a:rPr lang="en-US" u="sng" dirty="0" smtClean="0">
                <a:latin typeface="Arial" panose="020B0604020202020204" pitchFamily="34" charset="0"/>
                <a:cs typeface="Arial" panose="020B0604020202020204" pitchFamily="34" charset="0"/>
              </a:rPr>
              <a:t>ECBC compliant roof &amp; wall</a:t>
            </a:r>
          </a:p>
          <a:p>
            <a:pPr lvl="0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oof U-value: 0.261 W/m</a:t>
            </a:r>
            <a:r>
              <a:rPr lang="en-US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.K</a:t>
            </a:r>
          </a:p>
          <a:p>
            <a:pPr lvl="0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all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-value: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0.44 W/m</a:t>
            </a:r>
            <a:r>
              <a:rPr lang="en-US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.K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209800" y="6019800"/>
            <a:ext cx="533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tion in heat in-flow through roof ∼ 90%</a:t>
            </a:r>
          </a:p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tion in heat in-flow through walls ∼ 70%</a:t>
            </a:r>
            <a:endParaRPr lang="en-IN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00" y="6015312"/>
            <a:ext cx="886282" cy="711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266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Your partner to increase your valu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438400" cy="2179320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Stakeholder Awarenes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Training of Applicator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 smtClean="0"/>
              <a:t>Testing of Insulation Materials.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B0DF-5DD5-438B-B9BC-C8417AB5D9E3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57" r="1695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6669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5794" y="5943600"/>
            <a:ext cx="1179871" cy="9144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1087" y="1066800"/>
            <a:ext cx="8554122" cy="1219200"/>
          </a:xfrm>
        </p:spPr>
        <p:txBody>
          <a:bodyPr>
            <a:noAutofit/>
          </a:bodyPr>
          <a:lstStyle/>
          <a:p>
            <a:r>
              <a:rPr lang="en-US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ical summer day in Composite climate (Delhi)</a:t>
            </a:r>
          </a:p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ith a 50mm Envelop insulation. </a:t>
            </a:r>
          </a:p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8260672" cy="762000"/>
          </a:xfrm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of Roof &amp; Wall Insulation</a:t>
            </a:r>
            <a:endParaRPr lang="en-US" sz="4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Box 24"/>
          <p:cNvSpPr txBox="1">
            <a:spLocks noChangeArrowheads="1"/>
          </p:cNvSpPr>
          <p:nvPr/>
        </p:nvSpPr>
        <p:spPr bwMode="auto">
          <a:xfrm>
            <a:off x="245570" y="6571877"/>
            <a:ext cx="211663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b="1" dirty="0" smtClean="0">
                <a:solidFill>
                  <a:schemeClr val="accent2"/>
                </a:solidFill>
              </a:rPr>
              <a:t>Source </a:t>
            </a:r>
            <a:r>
              <a:rPr lang="en-US" sz="1200" b="1" dirty="0">
                <a:solidFill>
                  <a:schemeClr val="accent2"/>
                </a:solidFill>
              </a:rPr>
              <a:t>: </a:t>
            </a:r>
            <a:r>
              <a:rPr lang="en-US" sz="1200" b="1" dirty="0" smtClean="0">
                <a:solidFill>
                  <a:schemeClr val="accent2"/>
                </a:solidFill>
              </a:rPr>
              <a:t>Owens Corning</a:t>
            </a:r>
            <a:endParaRPr lang="en-US" sz="1200" b="1" dirty="0"/>
          </a:p>
        </p:txBody>
      </p:sp>
      <p:graphicFrame>
        <p:nvGraphicFramePr>
          <p:cNvPr id="8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0292193"/>
              </p:ext>
            </p:extLst>
          </p:nvPr>
        </p:nvGraphicFramePr>
        <p:xfrm>
          <a:off x="274402" y="2046283"/>
          <a:ext cx="8382003" cy="4525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6"/>
          <p:cNvSpPr txBox="1"/>
          <p:nvPr/>
        </p:nvSpPr>
        <p:spPr>
          <a:xfrm>
            <a:off x="533397" y="1676400"/>
            <a:ext cx="5867403" cy="369883"/>
          </a:xfrm>
          <a:prstGeom prst="rect">
            <a:avLst/>
          </a:prstGeom>
          <a:noFill/>
          <a:ln w="9528">
            <a:solidFill>
              <a:srgbClr val="000000"/>
            </a:solidFill>
            <a:prstDash val="solid"/>
            <a:miter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800" b="1" i="0" u="none" strike="noStrike" kern="1200" cap="none" spc="0" baseline="0" dirty="0">
                <a:solidFill>
                  <a:srgbClr val="000000"/>
                </a:solidFill>
                <a:uFillTx/>
                <a:latin typeface="Calibri" pitchFamily="34"/>
                <a:cs typeface="Arial"/>
              </a:rPr>
              <a:t>Maximum Temperature Difference is 13.9°C @ </a:t>
            </a:r>
            <a:r>
              <a:rPr lang="en-US" sz="1800" b="1" i="0" u="none" strike="noStrike" kern="1200" cap="none" spc="0" baseline="0" dirty="0" smtClean="0">
                <a:solidFill>
                  <a:srgbClr val="000000"/>
                </a:solidFill>
                <a:uFillTx/>
                <a:latin typeface="Calibri" pitchFamily="34"/>
                <a:cs typeface="Arial"/>
              </a:rPr>
              <a:t>14:hrs</a:t>
            </a:r>
            <a:endParaRPr lang="en-US" sz="1800" b="1" i="0" u="none" strike="noStrike" kern="1200" cap="none" spc="0" baseline="0" dirty="0">
              <a:solidFill>
                <a:srgbClr val="000000"/>
              </a:solidFill>
              <a:uFillTx/>
              <a:latin typeface="Calibri" pitchFamily="3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663044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5794" y="5943600"/>
            <a:ext cx="1179871" cy="9144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1087" y="1066800"/>
            <a:ext cx="8554122" cy="1219200"/>
          </a:xfrm>
        </p:spPr>
        <p:txBody>
          <a:bodyPr>
            <a:noAutofit/>
          </a:bodyPr>
          <a:lstStyle/>
          <a:p>
            <a:r>
              <a:rPr lang="en-US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ol building in a typical summer day in Composite climate (Indore, M.P.)</a:t>
            </a:r>
          </a:p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ith a roof of 40mm insulation with metal cladding</a:t>
            </a:r>
          </a:p>
          <a:p>
            <a:pPr lvl="1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Up to 6-7</a:t>
            </a:r>
            <a:r>
              <a:rPr lang="en-US" sz="16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 cooler than ambient</a:t>
            </a:r>
          </a:p>
          <a:p>
            <a:pPr lvl="1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Up to 4-5</a:t>
            </a:r>
            <a:r>
              <a:rPr lang="en-US" sz="16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 cooler than RCC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8601"/>
            <a:ext cx="8260672" cy="914400"/>
          </a:xfrm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of Roof Insulation</a:t>
            </a:r>
            <a:endParaRPr lang="en-US" sz="4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0" t="1553" r="4954" b="22101"/>
          <a:stretch/>
        </p:blipFill>
        <p:spPr bwMode="auto">
          <a:xfrm>
            <a:off x="304800" y="2428412"/>
            <a:ext cx="8458200" cy="3896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 Box 24"/>
          <p:cNvSpPr txBox="1">
            <a:spLocks noChangeArrowheads="1"/>
          </p:cNvSpPr>
          <p:nvPr/>
        </p:nvSpPr>
        <p:spPr bwMode="auto">
          <a:xfrm>
            <a:off x="245571" y="6571877"/>
            <a:ext cx="16002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200" b="1" dirty="0" smtClean="0">
                <a:solidFill>
                  <a:schemeClr val="accent2"/>
                </a:solidFill>
              </a:rPr>
              <a:t>Source </a:t>
            </a:r>
            <a:r>
              <a:rPr lang="en-US" sz="1200" b="1" dirty="0">
                <a:solidFill>
                  <a:schemeClr val="accent2"/>
                </a:solidFill>
              </a:rPr>
              <a:t>: </a:t>
            </a:r>
            <a:r>
              <a:rPr lang="en-US" sz="1200" b="1" dirty="0" smtClean="0">
                <a:solidFill>
                  <a:schemeClr val="accent2"/>
                </a:solidFill>
              </a:rPr>
              <a:t>BEEP</a:t>
            </a:r>
            <a:endParaRPr lang="en-US" sz="1200" b="1" dirty="0"/>
          </a:p>
        </p:txBody>
      </p:sp>
      <p:sp>
        <p:nvSpPr>
          <p:cNvPr id="4" name="Rectangle 3"/>
          <p:cNvSpPr/>
          <p:nvPr/>
        </p:nvSpPr>
        <p:spPr>
          <a:xfrm>
            <a:off x="762000" y="1676400"/>
            <a:ext cx="3124200" cy="6096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60851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/&gt;&lt;m_precDefaultPercent/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Flow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Flow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low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48</Words>
  <Application>Microsoft Office PowerPoint</Application>
  <PresentationFormat>On-screen Show (4:3)</PresentationFormat>
  <Paragraphs>198</Paragraphs>
  <Slides>24</Slides>
  <Notes>6</Notes>
  <HiddenSlides>2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Flow</vt:lpstr>
      <vt:lpstr>think-cell Slide</vt:lpstr>
      <vt:lpstr>PowerPoint Presentation</vt:lpstr>
      <vt:lpstr>Agenda</vt:lpstr>
      <vt:lpstr>Agenda</vt:lpstr>
      <vt:lpstr>India Insulation Forum (IIF)</vt:lpstr>
      <vt:lpstr>Heat Load Components:  Warm-Humid Climate (Chennai)</vt:lpstr>
      <vt:lpstr>Why Insulation? Energy &gt; Money An example in a Composite Climate (New Delhi)</vt:lpstr>
      <vt:lpstr>Your partner to increase your value</vt:lpstr>
      <vt:lpstr>Impact of Roof &amp; Wall Insulation</vt:lpstr>
      <vt:lpstr>Impact of Roof Insulation</vt:lpstr>
      <vt:lpstr>Insulation Benefits</vt:lpstr>
      <vt:lpstr>Agenda</vt:lpstr>
      <vt:lpstr>PowerPoint Presentation</vt:lpstr>
      <vt:lpstr>IIF Organization</vt:lpstr>
      <vt:lpstr>…..2015</vt:lpstr>
      <vt:lpstr>Applicator Orientation</vt:lpstr>
      <vt:lpstr>PowerPoint Presentation</vt:lpstr>
      <vt:lpstr>G B Pant Polytechnic</vt:lpstr>
      <vt:lpstr>Website</vt:lpstr>
      <vt:lpstr>PowerPoint Presentation</vt:lpstr>
      <vt:lpstr>Agenda</vt:lpstr>
      <vt:lpstr>PowerPoint Presentation</vt:lpstr>
      <vt:lpstr>Partnership with Bureau of Energy Efficiency, Min of Power</vt:lpstr>
      <vt:lpstr>We seek everyone’s support!</vt:lpstr>
      <vt:lpstr>PowerPoint Presentation</vt:lpstr>
    </vt:vector>
  </TitlesOfParts>
  <Company>GKSP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ashant Bhanware</dc:creator>
  <cp:lastModifiedBy>Isaac Emmanuel</cp:lastModifiedBy>
  <cp:revision>294</cp:revision>
  <dcterms:created xsi:type="dcterms:W3CDTF">2014-05-19T14:24:49Z</dcterms:created>
  <dcterms:modified xsi:type="dcterms:W3CDTF">2016-10-10T07:0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51b3ad97-ebc5-4a52-8388-e934cf65be7e</vt:lpwstr>
  </property>
  <property fmtid="{D5CDD505-2E9C-101B-9397-08002B2CF9AE}" pid="3" name="TitusCorpClassification">
    <vt:lpwstr>Not Applicable</vt:lpwstr>
  </property>
</Properties>
</file>